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ags/tag8.xml" ContentType="application/vnd.openxmlformats-officedocument.presentationml.tags+xml"/>
  <Override PartName="/ppt/theme/themeOverride7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8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9.xml" ContentType="application/vnd.openxmlformats-officedocument.themeOverride+xml"/>
  <Override PartName="/ppt/tags/tag1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0.xml" ContentType="application/vnd.openxmlformats-officedocument.themeOverride+xml"/>
  <Override PartName="/ppt/tags/tag14.xml" ContentType="application/vnd.openxmlformats-officedocument.presentationml.tags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13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14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15.xml" ContentType="application/vnd.openxmlformats-officedocument.themeOverride+xml"/>
  <Override PartName="/ppt/notesSlides/notesSlide6.xml" ContentType="application/vnd.openxmlformats-officedocument.presentationml.notesSlide+xml"/>
  <Override PartName="/ppt/theme/themeOverride16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17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18.xml" ContentType="application/vnd.openxmlformats-officedocument.themeOverride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heme/themeOverride19.xml" ContentType="application/vnd.openxmlformats-officedocument.themeOverride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heme/themeOverride22.xml" ContentType="application/vnd.openxmlformats-officedocument.themeOverride+xml"/>
  <Override PartName="/ppt/tags/tag29.xml" ContentType="application/vnd.openxmlformats-officedocument.presentationml.tags+xml"/>
  <Override PartName="/ppt/theme/themeOverride23.xml" ContentType="application/vnd.openxmlformats-officedocument.themeOverride+xml"/>
  <Override PartName="/ppt/tags/tag30.xml" ContentType="application/vnd.openxmlformats-officedocument.presentationml.tags+xml"/>
  <Override PartName="/ppt/theme/themeOverride24.xml" ContentType="application/vnd.openxmlformats-officedocument.themeOverride+xml"/>
  <Override PartName="/ppt/notesSlides/notesSlide11.xml" ContentType="application/vnd.openxmlformats-officedocument.presentationml.notesSlide+xml"/>
  <Override PartName="/ppt/theme/themeOverride25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Override26.xml" ContentType="application/vnd.openxmlformats-officedocument.themeOverride+xml"/>
  <Override PartName="/ppt/tags/tag35.xml" ContentType="application/vnd.openxmlformats-officedocument.presentationml.tags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heme/themeOverride29.xml" ContentType="application/vnd.openxmlformats-officedocument.themeOverr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419" r:id="rId4"/>
  </p:sldMasterIdLst>
  <p:notesMasterIdLst>
    <p:notesMasterId r:id="rId38"/>
  </p:notesMasterIdLst>
  <p:handoutMasterIdLst>
    <p:handoutMasterId r:id="rId39"/>
  </p:handoutMasterIdLst>
  <p:sldIdLst>
    <p:sldId id="2147473218" r:id="rId5"/>
    <p:sldId id="2147473222" r:id="rId6"/>
    <p:sldId id="1436" r:id="rId7"/>
    <p:sldId id="260" r:id="rId8"/>
    <p:sldId id="2147473215" r:id="rId9"/>
    <p:sldId id="2147473214" r:id="rId10"/>
    <p:sldId id="268" r:id="rId11"/>
    <p:sldId id="2147473205" r:id="rId12"/>
    <p:sldId id="2147473217" r:id="rId13"/>
    <p:sldId id="2147473228" r:id="rId14"/>
    <p:sldId id="2147473229" r:id="rId15"/>
    <p:sldId id="2147473219" r:id="rId16"/>
    <p:sldId id="2147473197" r:id="rId17"/>
    <p:sldId id="2147473224" r:id="rId18"/>
    <p:sldId id="2147473198" r:id="rId19"/>
    <p:sldId id="1439" r:id="rId20"/>
    <p:sldId id="2147473213" r:id="rId21"/>
    <p:sldId id="2147473225" r:id="rId22"/>
    <p:sldId id="1384" r:id="rId23"/>
    <p:sldId id="1658" r:id="rId24"/>
    <p:sldId id="1425" r:id="rId25"/>
    <p:sldId id="2147473226" r:id="rId26"/>
    <p:sldId id="2147473199" r:id="rId27"/>
    <p:sldId id="1431" r:id="rId28"/>
    <p:sldId id="2147473191" r:id="rId29"/>
    <p:sldId id="2147473227" r:id="rId30"/>
    <p:sldId id="1286" r:id="rId31"/>
    <p:sldId id="1443" r:id="rId32"/>
    <p:sldId id="2147473220" r:id="rId33"/>
    <p:sldId id="1378" r:id="rId34"/>
    <p:sldId id="2147473223" r:id="rId35"/>
    <p:sldId id="1392" r:id="rId36"/>
    <p:sldId id="2147473221" r:id="rId37"/>
  </p:sldIdLst>
  <p:sldSz cx="13315950" cy="7489825"/>
  <p:notesSz cx="7000875" cy="9229725"/>
  <p:custDataLst>
    <p:tags r:id="rId40"/>
  </p:custDataLst>
  <p:defaultTextStyle>
    <a:defPPr>
      <a:defRPr lang="es-UY"/>
    </a:defPPr>
    <a:lvl1pPr marL="0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378209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756447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134677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512926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1891124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269365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2647564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025815" algn="l" defTabSz="7564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14" userDrawn="1">
          <p15:clr>
            <a:srgbClr val="A4A3A4"/>
          </p15:clr>
        </p15:guide>
        <p15:guide id="2" pos="419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biana Riva" initials="FR" lastIdx="3" clrIdx="0"/>
  <p:cmAuthor id="1" name="Stipanicic Alejandro" initials="SA" lastIdx="1" clrIdx="1">
    <p:extLst>
      <p:ext uri="{19B8F6BF-5375-455C-9EA6-DF929625EA0E}">
        <p15:presenceInfo xmlns:p15="http://schemas.microsoft.com/office/powerpoint/2012/main" userId="S::astipanicic@ancap.com.uy::45bbde06-72d2-46d7-95a6-dbe7a02952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2F6C"/>
    <a:srgbClr val="000099"/>
    <a:srgbClr val="EA7C04"/>
    <a:srgbClr val="FB8A0D"/>
    <a:srgbClr val="16446E"/>
    <a:srgbClr val="164C6E"/>
    <a:srgbClr val="1A347C"/>
    <a:srgbClr val="1E3C92"/>
    <a:srgbClr val="254AB1"/>
    <a:srgbClr val="112B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24" autoAdjust="0"/>
    <p:restoredTop sz="94662" autoAdjust="0"/>
  </p:normalViewPr>
  <p:slideViewPr>
    <p:cSldViewPr>
      <p:cViewPr varScale="1">
        <p:scale>
          <a:sx n="79" d="100"/>
          <a:sy n="79" d="100"/>
        </p:scale>
        <p:origin x="300" y="96"/>
      </p:cViewPr>
      <p:guideLst>
        <p:guide orient="horz" pos="2314"/>
        <p:guide pos="419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 /><Relationship Id="rId13" Type="http://schemas.openxmlformats.org/officeDocument/2006/relationships/slide" Target="slides/slide9.xml" /><Relationship Id="rId18" Type="http://schemas.openxmlformats.org/officeDocument/2006/relationships/slide" Target="slides/slide14.xml" /><Relationship Id="rId26" Type="http://schemas.openxmlformats.org/officeDocument/2006/relationships/slide" Target="slides/slide22.xml" /><Relationship Id="rId39" Type="http://schemas.openxmlformats.org/officeDocument/2006/relationships/handoutMaster" Target="handoutMasters/handoutMaster1.xml" /><Relationship Id="rId3" Type="http://schemas.openxmlformats.org/officeDocument/2006/relationships/customXml" Target="../customXml/item3.xml" /><Relationship Id="rId21" Type="http://schemas.openxmlformats.org/officeDocument/2006/relationships/slide" Target="slides/slide17.xml" /><Relationship Id="rId34" Type="http://schemas.openxmlformats.org/officeDocument/2006/relationships/slide" Target="slides/slide30.xml" /><Relationship Id="rId42" Type="http://schemas.openxmlformats.org/officeDocument/2006/relationships/presProps" Target="presProps.xml" /><Relationship Id="rId7" Type="http://schemas.openxmlformats.org/officeDocument/2006/relationships/slide" Target="slides/slide3.xml" /><Relationship Id="rId12" Type="http://schemas.openxmlformats.org/officeDocument/2006/relationships/slide" Target="slides/slide8.xml" /><Relationship Id="rId17" Type="http://schemas.openxmlformats.org/officeDocument/2006/relationships/slide" Target="slides/slide13.xml" /><Relationship Id="rId25" Type="http://schemas.openxmlformats.org/officeDocument/2006/relationships/slide" Target="slides/slide21.xml" /><Relationship Id="rId33" Type="http://schemas.openxmlformats.org/officeDocument/2006/relationships/slide" Target="slides/slide29.xml" /><Relationship Id="rId38" Type="http://schemas.openxmlformats.org/officeDocument/2006/relationships/notesMaster" Target="notesMasters/notesMaster1.xml" /><Relationship Id="rId2" Type="http://schemas.openxmlformats.org/officeDocument/2006/relationships/customXml" Target="../customXml/item2.xml" /><Relationship Id="rId16" Type="http://schemas.openxmlformats.org/officeDocument/2006/relationships/slide" Target="slides/slide12.xml" /><Relationship Id="rId20" Type="http://schemas.openxmlformats.org/officeDocument/2006/relationships/slide" Target="slides/slide16.xml" /><Relationship Id="rId29" Type="http://schemas.openxmlformats.org/officeDocument/2006/relationships/slide" Target="slides/slide25.xml" /><Relationship Id="rId41" Type="http://schemas.openxmlformats.org/officeDocument/2006/relationships/commentAuthors" Target="commentAuthors.xml" /><Relationship Id="rId1" Type="http://schemas.openxmlformats.org/officeDocument/2006/relationships/customXml" Target="../customXml/item1.xml" /><Relationship Id="rId6" Type="http://schemas.openxmlformats.org/officeDocument/2006/relationships/slide" Target="slides/slide2.xml" /><Relationship Id="rId11" Type="http://schemas.openxmlformats.org/officeDocument/2006/relationships/slide" Target="slides/slide7.xml" /><Relationship Id="rId24" Type="http://schemas.openxmlformats.org/officeDocument/2006/relationships/slide" Target="slides/slide20.xml" /><Relationship Id="rId32" Type="http://schemas.openxmlformats.org/officeDocument/2006/relationships/slide" Target="slides/slide28.xml" /><Relationship Id="rId37" Type="http://schemas.openxmlformats.org/officeDocument/2006/relationships/slide" Target="slides/slide33.xml" /><Relationship Id="rId40" Type="http://schemas.openxmlformats.org/officeDocument/2006/relationships/tags" Target="tags/tag1.xml" /><Relationship Id="rId45" Type="http://schemas.openxmlformats.org/officeDocument/2006/relationships/tableStyles" Target="tableStyles.xml" /><Relationship Id="rId5" Type="http://schemas.openxmlformats.org/officeDocument/2006/relationships/slide" Target="slides/slide1.xml" /><Relationship Id="rId15" Type="http://schemas.openxmlformats.org/officeDocument/2006/relationships/slide" Target="slides/slide11.xml" /><Relationship Id="rId23" Type="http://schemas.openxmlformats.org/officeDocument/2006/relationships/slide" Target="slides/slide19.xml" /><Relationship Id="rId28" Type="http://schemas.openxmlformats.org/officeDocument/2006/relationships/slide" Target="slides/slide24.xml" /><Relationship Id="rId36" Type="http://schemas.openxmlformats.org/officeDocument/2006/relationships/slide" Target="slides/slide32.xml" /><Relationship Id="rId10" Type="http://schemas.openxmlformats.org/officeDocument/2006/relationships/slide" Target="slides/slide6.xml" /><Relationship Id="rId19" Type="http://schemas.openxmlformats.org/officeDocument/2006/relationships/slide" Target="slides/slide15.xml" /><Relationship Id="rId31" Type="http://schemas.openxmlformats.org/officeDocument/2006/relationships/slide" Target="slides/slide27.xml" /><Relationship Id="rId44" Type="http://schemas.openxmlformats.org/officeDocument/2006/relationships/theme" Target="theme/theme1.xml" /><Relationship Id="rId4" Type="http://schemas.openxmlformats.org/officeDocument/2006/relationships/slideMaster" Target="slideMasters/slideMaster1.xml" /><Relationship Id="rId9" Type="http://schemas.openxmlformats.org/officeDocument/2006/relationships/slide" Target="slides/slide5.xml" /><Relationship Id="rId14" Type="http://schemas.openxmlformats.org/officeDocument/2006/relationships/slide" Target="slides/slide10.xml" /><Relationship Id="rId22" Type="http://schemas.openxmlformats.org/officeDocument/2006/relationships/slide" Target="slides/slide18.xml" /><Relationship Id="rId27" Type="http://schemas.openxmlformats.org/officeDocument/2006/relationships/slide" Target="slides/slide23.xml" /><Relationship Id="rId30" Type="http://schemas.openxmlformats.org/officeDocument/2006/relationships/slide" Target="slides/slide26.xml" /><Relationship Id="rId35" Type="http://schemas.openxmlformats.org/officeDocument/2006/relationships/slide" Target="slides/slide31.xml" /><Relationship Id="rId43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 /><Relationship Id="rId2" Type="http://schemas.microsoft.com/office/2011/relationships/chartColorStyle" Target="colors1.xml" /><Relationship Id="rId1" Type="http://schemas.microsoft.com/office/2011/relationships/chartStyle" Target="style1.xml" /><Relationship Id="rId4" Type="http://schemas.openxmlformats.org/officeDocument/2006/relationships/oleObject" Target="Libro1" TargetMode="External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stipanicic\Dropbox\Mi%20PC%20(MNBASTIPANICIC)\Documents\PerformanceGraphExport%20(3).xls" TargetMode="External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UY" sz="1600" b="1"/>
              <a:t>Primary global energy consumption 2022</a:t>
            </a:r>
          </a:p>
        </c:rich>
      </c:tx>
      <c:layout>
        <c:manualLayout>
          <c:xMode val="edge"/>
          <c:yMode val="edge"/>
          <c:x val="2.0592075337866663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US"/>
        </a:p>
      </c:txPr>
    </c:title>
    <c:autoTitleDeleted val="0"/>
    <c:plotArea>
      <c:layout>
        <c:manualLayout>
          <c:layoutTarget val="inner"/>
          <c:xMode val="edge"/>
          <c:yMode val="edge"/>
          <c:x val="0.44590745014149658"/>
          <c:y val="0.16728187419998214"/>
          <c:w val="0.53750789102997576"/>
          <c:h val="0.7938443678736667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9C-4106-B70B-FA3891FD727A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09C-4106-B70B-FA3891FD727A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09C-4106-B70B-FA3891FD727A}"/>
              </c:ext>
            </c:extLst>
          </c:dPt>
          <c:dPt>
            <c:idx val="3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09C-4106-B70B-FA3891FD727A}"/>
              </c:ext>
            </c:extLst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09C-4106-B70B-FA3891FD727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09C-4106-B70B-FA3891FD727A}"/>
              </c:ext>
            </c:extLst>
          </c:dPt>
          <c:dLbls>
            <c:dLbl>
              <c:idx val="0"/>
              <c:layout>
                <c:manualLayout>
                  <c:x val="-8.1698172057169463E-2"/>
                  <c:y val="8.08987609166105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9C-4106-B70B-FA3891FD727A}"/>
                </c:ext>
              </c:extLst>
            </c:dLbl>
            <c:dLbl>
              <c:idx val="1"/>
              <c:layout>
                <c:manualLayout>
                  <c:x val="-5.318773691570601E-2"/>
                  <c:y val="-0.139335238866587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09C-4106-B70B-FA3891FD727A}"/>
                </c:ext>
              </c:extLst>
            </c:dLbl>
            <c:dLbl>
              <c:idx val="2"/>
              <c:layout>
                <c:manualLayout>
                  <c:x val="0.10425449666285852"/>
                  <c:y val="-9.2592571790282005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180713213285008"/>
                      <c:h val="8.78937042701506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809C-4106-B70B-FA3891FD727A}"/>
                </c:ext>
              </c:extLst>
            </c:dLbl>
            <c:dLbl>
              <c:idx val="3"/>
              <c:layout>
                <c:manualLayout>
                  <c:x val="-0.1"/>
                  <c:y val="-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09C-4106-B70B-FA3891FD727A}"/>
                </c:ext>
              </c:extLst>
            </c:dLbl>
            <c:dLbl>
              <c:idx val="4"/>
              <c:layout>
                <c:manualLayout>
                  <c:x val="-7.2222222222222271E-2"/>
                  <c:y val="-6.94444444444444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09C-4106-B70B-FA3891FD727A}"/>
                </c:ext>
              </c:extLst>
            </c:dLbl>
            <c:dLbl>
              <c:idx val="5"/>
              <c:layout>
                <c:manualLayout>
                  <c:x val="-3.3333333333333333E-2"/>
                  <c:y val="-9.72222222222222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09C-4106-B70B-FA3891FD727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C$2:$H$2</c:f>
              <c:strCache>
                <c:ptCount val="6"/>
                <c:pt idx="0">
                  <c:v>Oil</c:v>
                </c:pt>
                <c:pt idx="1">
                  <c:v>Natural Gas</c:v>
                </c:pt>
                <c:pt idx="2">
                  <c:v>Coal</c:v>
                </c:pt>
                <c:pt idx="3">
                  <c:v>Nuclear</c:v>
                </c:pt>
                <c:pt idx="4">
                  <c:v>Hydroelectric</c:v>
                </c:pt>
                <c:pt idx="5">
                  <c:v>Renewables</c:v>
                </c:pt>
              </c:strCache>
            </c:strRef>
          </c:cat>
          <c:val>
            <c:numRef>
              <c:f>Hoja1!$C$3:$H$3</c:f>
              <c:numCache>
                <c:formatCode>0.00%</c:formatCode>
                <c:ptCount val="6"/>
                <c:pt idx="0">
                  <c:v>0.316</c:v>
                </c:pt>
                <c:pt idx="1">
                  <c:v>0.23499999999999999</c:v>
                </c:pt>
                <c:pt idx="2">
                  <c:v>0.26700000000000002</c:v>
                </c:pt>
                <c:pt idx="3">
                  <c:v>0.04</c:v>
                </c:pt>
                <c:pt idx="4">
                  <c:v>6.7000000000000004E-2</c:v>
                </c:pt>
                <c:pt idx="5">
                  <c:v>7.4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09C-4106-B70B-FA3891FD72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302752293577988E-2"/>
          <c:y val="0.2042818606007582"/>
          <c:w val="0.303701469058128"/>
          <c:h val="0.721644065325167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cat>
            <c:numRef>
              <c:f>'Performance Graph'!$D$8:$D$1304</c:f>
              <c:numCache>
                <c:formatCode>m/d/yyyy</c:formatCode>
                <c:ptCount val="1297"/>
                <c:pt idx="0">
                  <c:v>43333</c:v>
                </c:pt>
                <c:pt idx="1">
                  <c:v>43334</c:v>
                </c:pt>
                <c:pt idx="2">
                  <c:v>43335</c:v>
                </c:pt>
                <c:pt idx="3">
                  <c:v>43336</c:v>
                </c:pt>
                <c:pt idx="4">
                  <c:v>43339</c:v>
                </c:pt>
                <c:pt idx="5">
                  <c:v>43340</c:v>
                </c:pt>
                <c:pt idx="6">
                  <c:v>43341</c:v>
                </c:pt>
                <c:pt idx="7">
                  <c:v>43342</c:v>
                </c:pt>
                <c:pt idx="8">
                  <c:v>43343</c:v>
                </c:pt>
                <c:pt idx="9">
                  <c:v>43346</c:v>
                </c:pt>
                <c:pt idx="10">
                  <c:v>43347</c:v>
                </c:pt>
                <c:pt idx="11">
                  <c:v>43348</c:v>
                </c:pt>
                <c:pt idx="12">
                  <c:v>43349</c:v>
                </c:pt>
                <c:pt idx="13">
                  <c:v>43350</c:v>
                </c:pt>
                <c:pt idx="14">
                  <c:v>43353</c:v>
                </c:pt>
                <c:pt idx="15">
                  <c:v>43354</c:v>
                </c:pt>
                <c:pt idx="16">
                  <c:v>43355</c:v>
                </c:pt>
                <c:pt idx="17">
                  <c:v>43356</c:v>
                </c:pt>
                <c:pt idx="18">
                  <c:v>43357</c:v>
                </c:pt>
                <c:pt idx="19">
                  <c:v>43360</c:v>
                </c:pt>
                <c:pt idx="20">
                  <c:v>43361</c:v>
                </c:pt>
                <c:pt idx="21">
                  <c:v>43362</c:v>
                </c:pt>
                <c:pt idx="22">
                  <c:v>43363</c:v>
                </c:pt>
                <c:pt idx="23">
                  <c:v>43364</c:v>
                </c:pt>
                <c:pt idx="24">
                  <c:v>43367</c:v>
                </c:pt>
                <c:pt idx="25">
                  <c:v>43368</c:v>
                </c:pt>
                <c:pt idx="26">
                  <c:v>43369</c:v>
                </c:pt>
                <c:pt idx="27">
                  <c:v>43370</c:v>
                </c:pt>
                <c:pt idx="28">
                  <c:v>43371</c:v>
                </c:pt>
                <c:pt idx="29">
                  <c:v>43374</c:v>
                </c:pt>
                <c:pt idx="30">
                  <c:v>43375</c:v>
                </c:pt>
                <c:pt idx="31">
                  <c:v>43376</c:v>
                </c:pt>
                <c:pt idx="32">
                  <c:v>43377</c:v>
                </c:pt>
                <c:pt idx="33">
                  <c:v>43378</c:v>
                </c:pt>
                <c:pt idx="34">
                  <c:v>43381</c:v>
                </c:pt>
                <c:pt idx="35">
                  <c:v>43382</c:v>
                </c:pt>
                <c:pt idx="36">
                  <c:v>43383</c:v>
                </c:pt>
                <c:pt idx="37">
                  <c:v>43384</c:v>
                </c:pt>
                <c:pt idx="38">
                  <c:v>43385</c:v>
                </c:pt>
                <c:pt idx="39">
                  <c:v>43388</c:v>
                </c:pt>
                <c:pt idx="40">
                  <c:v>43389</c:v>
                </c:pt>
                <c:pt idx="41">
                  <c:v>43390</c:v>
                </c:pt>
                <c:pt idx="42">
                  <c:v>43391</c:v>
                </c:pt>
                <c:pt idx="43">
                  <c:v>43392</c:v>
                </c:pt>
                <c:pt idx="44">
                  <c:v>43395</c:v>
                </c:pt>
                <c:pt idx="45">
                  <c:v>43396</c:v>
                </c:pt>
                <c:pt idx="46">
                  <c:v>43397</c:v>
                </c:pt>
                <c:pt idx="47">
                  <c:v>43398</c:v>
                </c:pt>
                <c:pt idx="48">
                  <c:v>43399</c:v>
                </c:pt>
                <c:pt idx="49">
                  <c:v>43402</c:v>
                </c:pt>
                <c:pt idx="50">
                  <c:v>43403</c:v>
                </c:pt>
                <c:pt idx="51">
                  <c:v>43404</c:v>
                </c:pt>
                <c:pt idx="52">
                  <c:v>43405</c:v>
                </c:pt>
                <c:pt idx="53">
                  <c:v>43406</c:v>
                </c:pt>
                <c:pt idx="54">
                  <c:v>43409</c:v>
                </c:pt>
                <c:pt idx="55">
                  <c:v>43410</c:v>
                </c:pt>
                <c:pt idx="56">
                  <c:v>43411</c:v>
                </c:pt>
                <c:pt idx="57">
                  <c:v>43412</c:v>
                </c:pt>
                <c:pt idx="58">
                  <c:v>43413</c:v>
                </c:pt>
                <c:pt idx="59">
                  <c:v>43416</c:v>
                </c:pt>
                <c:pt idx="60">
                  <c:v>43417</c:v>
                </c:pt>
                <c:pt idx="61">
                  <c:v>43418</c:v>
                </c:pt>
                <c:pt idx="62">
                  <c:v>43419</c:v>
                </c:pt>
                <c:pt idx="63">
                  <c:v>43420</c:v>
                </c:pt>
                <c:pt idx="64">
                  <c:v>43423</c:v>
                </c:pt>
                <c:pt idx="65">
                  <c:v>43424</c:v>
                </c:pt>
                <c:pt idx="66">
                  <c:v>43425</c:v>
                </c:pt>
                <c:pt idx="67">
                  <c:v>43426</c:v>
                </c:pt>
                <c:pt idx="68">
                  <c:v>43427</c:v>
                </c:pt>
                <c:pt idx="69">
                  <c:v>43430</c:v>
                </c:pt>
                <c:pt idx="70">
                  <c:v>43431</c:v>
                </c:pt>
                <c:pt idx="71">
                  <c:v>43432</c:v>
                </c:pt>
                <c:pt idx="72">
                  <c:v>43433</c:v>
                </c:pt>
                <c:pt idx="73">
                  <c:v>43434</c:v>
                </c:pt>
                <c:pt idx="74">
                  <c:v>43437</c:v>
                </c:pt>
                <c:pt idx="75">
                  <c:v>43438</c:v>
                </c:pt>
                <c:pt idx="76">
                  <c:v>43439</c:v>
                </c:pt>
                <c:pt idx="77">
                  <c:v>43440</c:v>
                </c:pt>
                <c:pt idx="78">
                  <c:v>43441</c:v>
                </c:pt>
                <c:pt idx="79">
                  <c:v>43444</c:v>
                </c:pt>
                <c:pt idx="80">
                  <c:v>43445</c:v>
                </c:pt>
                <c:pt idx="81">
                  <c:v>43446</c:v>
                </c:pt>
                <c:pt idx="82">
                  <c:v>43447</c:v>
                </c:pt>
                <c:pt idx="83">
                  <c:v>43448</c:v>
                </c:pt>
                <c:pt idx="84">
                  <c:v>43451</c:v>
                </c:pt>
                <c:pt idx="85">
                  <c:v>43452</c:v>
                </c:pt>
                <c:pt idx="86">
                  <c:v>43453</c:v>
                </c:pt>
                <c:pt idx="87">
                  <c:v>43454</c:v>
                </c:pt>
                <c:pt idx="88">
                  <c:v>43455</c:v>
                </c:pt>
                <c:pt idx="89">
                  <c:v>43458</c:v>
                </c:pt>
                <c:pt idx="90">
                  <c:v>43460</c:v>
                </c:pt>
                <c:pt idx="91">
                  <c:v>43461</c:v>
                </c:pt>
                <c:pt idx="92">
                  <c:v>43462</c:v>
                </c:pt>
                <c:pt idx="93">
                  <c:v>43465</c:v>
                </c:pt>
                <c:pt idx="94">
                  <c:v>43467</c:v>
                </c:pt>
                <c:pt idx="95">
                  <c:v>43468</c:v>
                </c:pt>
                <c:pt idx="96">
                  <c:v>43469</c:v>
                </c:pt>
                <c:pt idx="97">
                  <c:v>43472</c:v>
                </c:pt>
                <c:pt idx="98">
                  <c:v>43473</c:v>
                </c:pt>
                <c:pt idx="99">
                  <c:v>43474</c:v>
                </c:pt>
                <c:pt idx="100">
                  <c:v>43475</c:v>
                </c:pt>
                <c:pt idx="101">
                  <c:v>43476</c:v>
                </c:pt>
                <c:pt idx="102">
                  <c:v>43479</c:v>
                </c:pt>
                <c:pt idx="103">
                  <c:v>43480</c:v>
                </c:pt>
                <c:pt idx="104">
                  <c:v>43481</c:v>
                </c:pt>
                <c:pt idx="105">
                  <c:v>43482</c:v>
                </c:pt>
                <c:pt idx="106">
                  <c:v>43483</c:v>
                </c:pt>
                <c:pt idx="107">
                  <c:v>43486</c:v>
                </c:pt>
                <c:pt idx="108">
                  <c:v>43487</c:v>
                </c:pt>
                <c:pt idx="109">
                  <c:v>43488</c:v>
                </c:pt>
                <c:pt idx="110">
                  <c:v>43489</c:v>
                </c:pt>
                <c:pt idx="111">
                  <c:v>43490</c:v>
                </c:pt>
                <c:pt idx="112">
                  <c:v>43493</c:v>
                </c:pt>
                <c:pt idx="113">
                  <c:v>43494</c:v>
                </c:pt>
                <c:pt idx="114">
                  <c:v>43495</c:v>
                </c:pt>
                <c:pt idx="115">
                  <c:v>43496</c:v>
                </c:pt>
                <c:pt idx="116">
                  <c:v>43497</c:v>
                </c:pt>
                <c:pt idx="117">
                  <c:v>43500</c:v>
                </c:pt>
                <c:pt idx="118">
                  <c:v>43501</c:v>
                </c:pt>
                <c:pt idx="119">
                  <c:v>43502</c:v>
                </c:pt>
                <c:pt idx="120">
                  <c:v>43503</c:v>
                </c:pt>
                <c:pt idx="121">
                  <c:v>43504</c:v>
                </c:pt>
                <c:pt idx="122">
                  <c:v>43507</c:v>
                </c:pt>
                <c:pt idx="123">
                  <c:v>43508</c:v>
                </c:pt>
                <c:pt idx="124">
                  <c:v>43509</c:v>
                </c:pt>
                <c:pt idx="125">
                  <c:v>43510</c:v>
                </c:pt>
                <c:pt idx="126">
                  <c:v>43511</c:v>
                </c:pt>
                <c:pt idx="127">
                  <c:v>43514</c:v>
                </c:pt>
                <c:pt idx="128">
                  <c:v>43515</c:v>
                </c:pt>
                <c:pt idx="129">
                  <c:v>43516</c:v>
                </c:pt>
                <c:pt idx="130">
                  <c:v>43517</c:v>
                </c:pt>
                <c:pt idx="131">
                  <c:v>43518</c:v>
                </c:pt>
                <c:pt idx="132">
                  <c:v>43521</c:v>
                </c:pt>
                <c:pt idx="133">
                  <c:v>43522</c:v>
                </c:pt>
                <c:pt idx="134">
                  <c:v>43523</c:v>
                </c:pt>
                <c:pt idx="135">
                  <c:v>43524</c:v>
                </c:pt>
                <c:pt idx="136">
                  <c:v>43525</c:v>
                </c:pt>
                <c:pt idx="137">
                  <c:v>43528</c:v>
                </c:pt>
                <c:pt idx="138">
                  <c:v>43529</c:v>
                </c:pt>
                <c:pt idx="139">
                  <c:v>43530</c:v>
                </c:pt>
                <c:pt idx="140">
                  <c:v>43531</c:v>
                </c:pt>
                <c:pt idx="141">
                  <c:v>43532</c:v>
                </c:pt>
                <c:pt idx="142">
                  <c:v>43535</c:v>
                </c:pt>
                <c:pt idx="143">
                  <c:v>43536</c:v>
                </c:pt>
                <c:pt idx="144">
                  <c:v>43537</c:v>
                </c:pt>
                <c:pt idx="145">
                  <c:v>43538</c:v>
                </c:pt>
                <c:pt idx="146">
                  <c:v>43539</c:v>
                </c:pt>
                <c:pt idx="147">
                  <c:v>43542</c:v>
                </c:pt>
                <c:pt idx="148">
                  <c:v>43543</c:v>
                </c:pt>
                <c:pt idx="149">
                  <c:v>43544</c:v>
                </c:pt>
                <c:pt idx="150">
                  <c:v>43545</c:v>
                </c:pt>
                <c:pt idx="151">
                  <c:v>43546</c:v>
                </c:pt>
                <c:pt idx="152">
                  <c:v>43549</c:v>
                </c:pt>
                <c:pt idx="153">
                  <c:v>43550</c:v>
                </c:pt>
                <c:pt idx="154">
                  <c:v>43551</c:v>
                </c:pt>
                <c:pt idx="155">
                  <c:v>43552</c:v>
                </c:pt>
                <c:pt idx="156">
                  <c:v>43553</c:v>
                </c:pt>
                <c:pt idx="157">
                  <c:v>43556</c:v>
                </c:pt>
                <c:pt idx="158">
                  <c:v>43557</c:v>
                </c:pt>
                <c:pt idx="159">
                  <c:v>43558</c:v>
                </c:pt>
                <c:pt idx="160">
                  <c:v>43559</c:v>
                </c:pt>
                <c:pt idx="161">
                  <c:v>43560</c:v>
                </c:pt>
                <c:pt idx="162">
                  <c:v>43563</c:v>
                </c:pt>
                <c:pt idx="163">
                  <c:v>43564</c:v>
                </c:pt>
                <c:pt idx="164">
                  <c:v>43565</c:v>
                </c:pt>
                <c:pt idx="165">
                  <c:v>43566</c:v>
                </c:pt>
                <c:pt idx="166">
                  <c:v>43567</c:v>
                </c:pt>
                <c:pt idx="167">
                  <c:v>43570</c:v>
                </c:pt>
                <c:pt idx="168">
                  <c:v>43571</c:v>
                </c:pt>
                <c:pt idx="169">
                  <c:v>43572</c:v>
                </c:pt>
                <c:pt idx="170">
                  <c:v>43573</c:v>
                </c:pt>
                <c:pt idx="171">
                  <c:v>43577</c:v>
                </c:pt>
                <c:pt idx="172">
                  <c:v>43578</c:v>
                </c:pt>
                <c:pt idx="173">
                  <c:v>43579</c:v>
                </c:pt>
                <c:pt idx="174">
                  <c:v>43580</c:v>
                </c:pt>
                <c:pt idx="175">
                  <c:v>43581</c:v>
                </c:pt>
                <c:pt idx="176">
                  <c:v>43584</c:v>
                </c:pt>
                <c:pt idx="177">
                  <c:v>43585</c:v>
                </c:pt>
                <c:pt idx="178">
                  <c:v>43586</c:v>
                </c:pt>
                <c:pt idx="179">
                  <c:v>43587</c:v>
                </c:pt>
                <c:pt idx="180">
                  <c:v>43588</c:v>
                </c:pt>
                <c:pt idx="181">
                  <c:v>43591</c:v>
                </c:pt>
                <c:pt idx="182">
                  <c:v>43592</c:v>
                </c:pt>
                <c:pt idx="183">
                  <c:v>43593</c:v>
                </c:pt>
                <c:pt idx="184">
                  <c:v>43594</c:v>
                </c:pt>
                <c:pt idx="185">
                  <c:v>43595</c:v>
                </c:pt>
                <c:pt idx="186">
                  <c:v>43598</c:v>
                </c:pt>
                <c:pt idx="187">
                  <c:v>43599</c:v>
                </c:pt>
                <c:pt idx="188">
                  <c:v>43600</c:v>
                </c:pt>
                <c:pt idx="189">
                  <c:v>43601</c:v>
                </c:pt>
                <c:pt idx="190">
                  <c:v>43602</c:v>
                </c:pt>
                <c:pt idx="191">
                  <c:v>43605</c:v>
                </c:pt>
                <c:pt idx="192">
                  <c:v>43606</c:v>
                </c:pt>
                <c:pt idx="193">
                  <c:v>43607</c:v>
                </c:pt>
                <c:pt idx="194">
                  <c:v>43608</c:v>
                </c:pt>
                <c:pt idx="195">
                  <c:v>43609</c:v>
                </c:pt>
                <c:pt idx="196">
                  <c:v>43612</c:v>
                </c:pt>
                <c:pt idx="197">
                  <c:v>43613</c:v>
                </c:pt>
                <c:pt idx="198">
                  <c:v>43614</c:v>
                </c:pt>
                <c:pt idx="199">
                  <c:v>43615</c:v>
                </c:pt>
                <c:pt idx="200">
                  <c:v>43616</c:v>
                </c:pt>
                <c:pt idx="201">
                  <c:v>43619</c:v>
                </c:pt>
                <c:pt idx="202">
                  <c:v>43620</c:v>
                </c:pt>
                <c:pt idx="203">
                  <c:v>43621</c:v>
                </c:pt>
                <c:pt idx="204">
                  <c:v>43622</c:v>
                </c:pt>
                <c:pt idx="205">
                  <c:v>43623</c:v>
                </c:pt>
                <c:pt idx="206">
                  <c:v>43626</c:v>
                </c:pt>
                <c:pt idx="207">
                  <c:v>43627</c:v>
                </c:pt>
                <c:pt idx="208">
                  <c:v>43628</c:v>
                </c:pt>
                <c:pt idx="209">
                  <c:v>43629</c:v>
                </c:pt>
                <c:pt idx="210">
                  <c:v>43630</c:v>
                </c:pt>
                <c:pt idx="211">
                  <c:v>43633</c:v>
                </c:pt>
                <c:pt idx="212">
                  <c:v>43634</c:v>
                </c:pt>
                <c:pt idx="213">
                  <c:v>43635</c:v>
                </c:pt>
                <c:pt idx="214">
                  <c:v>43636</c:v>
                </c:pt>
                <c:pt idx="215">
                  <c:v>43637</c:v>
                </c:pt>
                <c:pt idx="216">
                  <c:v>43640</c:v>
                </c:pt>
                <c:pt idx="217">
                  <c:v>43641</c:v>
                </c:pt>
                <c:pt idx="218">
                  <c:v>43642</c:v>
                </c:pt>
                <c:pt idx="219">
                  <c:v>43643</c:v>
                </c:pt>
                <c:pt idx="220">
                  <c:v>43644</c:v>
                </c:pt>
                <c:pt idx="221">
                  <c:v>43647</c:v>
                </c:pt>
                <c:pt idx="222">
                  <c:v>43648</c:v>
                </c:pt>
                <c:pt idx="223">
                  <c:v>43649</c:v>
                </c:pt>
                <c:pt idx="224">
                  <c:v>43650</c:v>
                </c:pt>
                <c:pt idx="225">
                  <c:v>43651</c:v>
                </c:pt>
                <c:pt idx="226">
                  <c:v>43654</c:v>
                </c:pt>
                <c:pt idx="227">
                  <c:v>43655</c:v>
                </c:pt>
                <c:pt idx="228">
                  <c:v>43656</c:v>
                </c:pt>
                <c:pt idx="229">
                  <c:v>43657</c:v>
                </c:pt>
                <c:pt idx="230">
                  <c:v>43658</c:v>
                </c:pt>
                <c:pt idx="231">
                  <c:v>43661</c:v>
                </c:pt>
                <c:pt idx="232">
                  <c:v>43662</c:v>
                </c:pt>
                <c:pt idx="233">
                  <c:v>43663</c:v>
                </c:pt>
                <c:pt idx="234">
                  <c:v>43664</c:v>
                </c:pt>
                <c:pt idx="235">
                  <c:v>43665</c:v>
                </c:pt>
                <c:pt idx="236">
                  <c:v>43668</c:v>
                </c:pt>
                <c:pt idx="237">
                  <c:v>43669</c:v>
                </c:pt>
                <c:pt idx="238">
                  <c:v>43670</c:v>
                </c:pt>
                <c:pt idx="239">
                  <c:v>43671</c:v>
                </c:pt>
                <c:pt idx="240">
                  <c:v>43672</c:v>
                </c:pt>
                <c:pt idx="241">
                  <c:v>43675</c:v>
                </c:pt>
                <c:pt idx="242">
                  <c:v>43676</c:v>
                </c:pt>
                <c:pt idx="243">
                  <c:v>43677</c:v>
                </c:pt>
                <c:pt idx="244">
                  <c:v>43678</c:v>
                </c:pt>
                <c:pt idx="245">
                  <c:v>43679</c:v>
                </c:pt>
                <c:pt idx="246">
                  <c:v>43682</c:v>
                </c:pt>
                <c:pt idx="247">
                  <c:v>43683</c:v>
                </c:pt>
                <c:pt idx="248">
                  <c:v>43684</c:v>
                </c:pt>
                <c:pt idx="249">
                  <c:v>43685</c:v>
                </c:pt>
                <c:pt idx="250">
                  <c:v>43686</c:v>
                </c:pt>
                <c:pt idx="251">
                  <c:v>43689</c:v>
                </c:pt>
                <c:pt idx="252">
                  <c:v>43690</c:v>
                </c:pt>
                <c:pt idx="253">
                  <c:v>43691</c:v>
                </c:pt>
                <c:pt idx="254">
                  <c:v>43692</c:v>
                </c:pt>
                <c:pt idx="255">
                  <c:v>43693</c:v>
                </c:pt>
                <c:pt idx="256">
                  <c:v>43696</c:v>
                </c:pt>
                <c:pt idx="257">
                  <c:v>43697</c:v>
                </c:pt>
                <c:pt idx="258">
                  <c:v>43698</c:v>
                </c:pt>
                <c:pt idx="259">
                  <c:v>43699</c:v>
                </c:pt>
                <c:pt idx="260">
                  <c:v>43700</c:v>
                </c:pt>
                <c:pt idx="261">
                  <c:v>43703</c:v>
                </c:pt>
                <c:pt idx="262">
                  <c:v>43704</c:v>
                </c:pt>
                <c:pt idx="263">
                  <c:v>43705</c:v>
                </c:pt>
                <c:pt idx="264">
                  <c:v>43706</c:v>
                </c:pt>
                <c:pt idx="265">
                  <c:v>43707</c:v>
                </c:pt>
                <c:pt idx="266">
                  <c:v>43710</c:v>
                </c:pt>
                <c:pt idx="267">
                  <c:v>43711</c:v>
                </c:pt>
                <c:pt idx="268">
                  <c:v>43712</c:v>
                </c:pt>
                <c:pt idx="269">
                  <c:v>43713</c:v>
                </c:pt>
                <c:pt idx="270">
                  <c:v>43714</c:v>
                </c:pt>
                <c:pt idx="271">
                  <c:v>43717</c:v>
                </c:pt>
                <c:pt idx="272">
                  <c:v>43718</c:v>
                </c:pt>
                <c:pt idx="273">
                  <c:v>43719</c:v>
                </c:pt>
                <c:pt idx="274">
                  <c:v>43720</c:v>
                </c:pt>
                <c:pt idx="275">
                  <c:v>43721</c:v>
                </c:pt>
                <c:pt idx="276">
                  <c:v>43724</c:v>
                </c:pt>
                <c:pt idx="277">
                  <c:v>43725</c:v>
                </c:pt>
                <c:pt idx="278">
                  <c:v>43726</c:v>
                </c:pt>
                <c:pt idx="279">
                  <c:v>43727</c:v>
                </c:pt>
                <c:pt idx="280">
                  <c:v>43728</c:v>
                </c:pt>
                <c:pt idx="281">
                  <c:v>43731</c:v>
                </c:pt>
                <c:pt idx="282">
                  <c:v>43732</c:v>
                </c:pt>
                <c:pt idx="283">
                  <c:v>43733</c:v>
                </c:pt>
                <c:pt idx="284">
                  <c:v>43734</c:v>
                </c:pt>
                <c:pt idx="285">
                  <c:v>43735</c:v>
                </c:pt>
                <c:pt idx="286">
                  <c:v>43738</c:v>
                </c:pt>
                <c:pt idx="287">
                  <c:v>43739</c:v>
                </c:pt>
                <c:pt idx="288">
                  <c:v>43740</c:v>
                </c:pt>
                <c:pt idx="289">
                  <c:v>43741</c:v>
                </c:pt>
                <c:pt idx="290">
                  <c:v>43742</c:v>
                </c:pt>
                <c:pt idx="291">
                  <c:v>43745</c:v>
                </c:pt>
                <c:pt idx="292">
                  <c:v>43746</c:v>
                </c:pt>
                <c:pt idx="293">
                  <c:v>43747</c:v>
                </c:pt>
                <c:pt idx="294">
                  <c:v>43748</c:v>
                </c:pt>
                <c:pt idx="295">
                  <c:v>43749</c:v>
                </c:pt>
                <c:pt idx="296">
                  <c:v>43752</c:v>
                </c:pt>
                <c:pt idx="297">
                  <c:v>43753</c:v>
                </c:pt>
                <c:pt idx="298">
                  <c:v>43754</c:v>
                </c:pt>
                <c:pt idx="299">
                  <c:v>43755</c:v>
                </c:pt>
                <c:pt idx="300">
                  <c:v>43756</c:v>
                </c:pt>
                <c:pt idx="301">
                  <c:v>43759</c:v>
                </c:pt>
                <c:pt idx="302">
                  <c:v>43760</c:v>
                </c:pt>
                <c:pt idx="303">
                  <c:v>43761</c:v>
                </c:pt>
                <c:pt idx="304">
                  <c:v>43762</c:v>
                </c:pt>
                <c:pt idx="305">
                  <c:v>43763</c:v>
                </c:pt>
                <c:pt idx="306">
                  <c:v>43766</c:v>
                </c:pt>
                <c:pt idx="307">
                  <c:v>43767</c:v>
                </c:pt>
                <c:pt idx="308">
                  <c:v>43768</c:v>
                </c:pt>
                <c:pt idx="309">
                  <c:v>43769</c:v>
                </c:pt>
                <c:pt idx="310">
                  <c:v>43770</c:v>
                </c:pt>
                <c:pt idx="311">
                  <c:v>43773</c:v>
                </c:pt>
                <c:pt idx="312">
                  <c:v>43774</c:v>
                </c:pt>
                <c:pt idx="313">
                  <c:v>43775</c:v>
                </c:pt>
                <c:pt idx="314">
                  <c:v>43776</c:v>
                </c:pt>
                <c:pt idx="315">
                  <c:v>43777</c:v>
                </c:pt>
                <c:pt idx="316">
                  <c:v>43780</c:v>
                </c:pt>
                <c:pt idx="317">
                  <c:v>43781</c:v>
                </c:pt>
                <c:pt idx="318">
                  <c:v>43782</c:v>
                </c:pt>
                <c:pt idx="319">
                  <c:v>43783</c:v>
                </c:pt>
                <c:pt idx="320">
                  <c:v>43784</c:v>
                </c:pt>
                <c:pt idx="321">
                  <c:v>43787</c:v>
                </c:pt>
                <c:pt idx="322">
                  <c:v>43788</c:v>
                </c:pt>
                <c:pt idx="323">
                  <c:v>43789</c:v>
                </c:pt>
                <c:pt idx="324">
                  <c:v>43790</c:v>
                </c:pt>
                <c:pt idx="325">
                  <c:v>43791</c:v>
                </c:pt>
                <c:pt idx="326">
                  <c:v>43794</c:v>
                </c:pt>
                <c:pt idx="327">
                  <c:v>43795</c:v>
                </c:pt>
                <c:pt idx="328">
                  <c:v>43796</c:v>
                </c:pt>
                <c:pt idx="329">
                  <c:v>43797</c:v>
                </c:pt>
                <c:pt idx="330">
                  <c:v>43798</c:v>
                </c:pt>
                <c:pt idx="331">
                  <c:v>43801</c:v>
                </c:pt>
                <c:pt idx="332">
                  <c:v>43802</c:v>
                </c:pt>
                <c:pt idx="333">
                  <c:v>43803</c:v>
                </c:pt>
                <c:pt idx="334">
                  <c:v>43804</c:v>
                </c:pt>
                <c:pt idx="335">
                  <c:v>43805</c:v>
                </c:pt>
                <c:pt idx="336">
                  <c:v>43808</c:v>
                </c:pt>
                <c:pt idx="337">
                  <c:v>43809</c:v>
                </c:pt>
                <c:pt idx="338">
                  <c:v>43810</c:v>
                </c:pt>
                <c:pt idx="339">
                  <c:v>43811</c:v>
                </c:pt>
                <c:pt idx="340">
                  <c:v>43812</c:v>
                </c:pt>
                <c:pt idx="341">
                  <c:v>43815</c:v>
                </c:pt>
                <c:pt idx="342">
                  <c:v>43816</c:v>
                </c:pt>
                <c:pt idx="343">
                  <c:v>43817</c:v>
                </c:pt>
                <c:pt idx="344">
                  <c:v>43818</c:v>
                </c:pt>
                <c:pt idx="345">
                  <c:v>43819</c:v>
                </c:pt>
                <c:pt idx="346">
                  <c:v>43822</c:v>
                </c:pt>
                <c:pt idx="347">
                  <c:v>43823</c:v>
                </c:pt>
                <c:pt idx="348">
                  <c:v>43825</c:v>
                </c:pt>
                <c:pt idx="349">
                  <c:v>43826</c:v>
                </c:pt>
                <c:pt idx="350">
                  <c:v>43829</c:v>
                </c:pt>
                <c:pt idx="351">
                  <c:v>43830</c:v>
                </c:pt>
                <c:pt idx="352">
                  <c:v>43832</c:v>
                </c:pt>
                <c:pt idx="353">
                  <c:v>43833</c:v>
                </c:pt>
                <c:pt idx="354">
                  <c:v>43836</c:v>
                </c:pt>
                <c:pt idx="355">
                  <c:v>43837</c:v>
                </c:pt>
                <c:pt idx="356">
                  <c:v>43838</c:v>
                </c:pt>
                <c:pt idx="357">
                  <c:v>43839</c:v>
                </c:pt>
                <c:pt idx="358">
                  <c:v>43840</c:v>
                </c:pt>
                <c:pt idx="359">
                  <c:v>43843</c:v>
                </c:pt>
                <c:pt idx="360">
                  <c:v>43844</c:v>
                </c:pt>
                <c:pt idx="361">
                  <c:v>43845</c:v>
                </c:pt>
                <c:pt idx="362">
                  <c:v>43846</c:v>
                </c:pt>
                <c:pt idx="363">
                  <c:v>43847</c:v>
                </c:pt>
                <c:pt idx="364">
                  <c:v>43850</c:v>
                </c:pt>
                <c:pt idx="365">
                  <c:v>43851</c:v>
                </c:pt>
                <c:pt idx="366">
                  <c:v>43852</c:v>
                </c:pt>
                <c:pt idx="367">
                  <c:v>43853</c:v>
                </c:pt>
                <c:pt idx="368">
                  <c:v>43854</c:v>
                </c:pt>
                <c:pt idx="369">
                  <c:v>43857</c:v>
                </c:pt>
                <c:pt idx="370">
                  <c:v>43858</c:v>
                </c:pt>
                <c:pt idx="371">
                  <c:v>43859</c:v>
                </c:pt>
                <c:pt idx="372">
                  <c:v>43860</c:v>
                </c:pt>
                <c:pt idx="373">
                  <c:v>43861</c:v>
                </c:pt>
                <c:pt idx="374">
                  <c:v>43864</c:v>
                </c:pt>
                <c:pt idx="375">
                  <c:v>43865</c:v>
                </c:pt>
                <c:pt idx="376">
                  <c:v>43866</c:v>
                </c:pt>
                <c:pt idx="377">
                  <c:v>43867</c:v>
                </c:pt>
                <c:pt idx="378">
                  <c:v>43868</c:v>
                </c:pt>
                <c:pt idx="379">
                  <c:v>43871</c:v>
                </c:pt>
                <c:pt idx="380">
                  <c:v>43872</c:v>
                </c:pt>
                <c:pt idx="381">
                  <c:v>43873</c:v>
                </c:pt>
                <c:pt idx="382">
                  <c:v>43874</c:v>
                </c:pt>
                <c:pt idx="383">
                  <c:v>43875</c:v>
                </c:pt>
                <c:pt idx="384">
                  <c:v>43878</c:v>
                </c:pt>
                <c:pt idx="385">
                  <c:v>43879</c:v>
                </c:pt>
                <c:pt idx="386">
                  <c:v>43880</c:v>
                </c:pt>
                <c:pt idx="387">
                  <c:v>43881</c:v>
                </c:pt>
                <c:pt idx="388">
                  <c:v>43882</c:v>
                </c:pt>
                <c:pt idx="389">
                  <c:v>43885</c:v>
                </c:pt>
                <c:pt idx="390">
                  <c:v>43886</c:v>
                </c:pt>
                <c:pt idx="391">
                  <c:v>43887</c:v>
                </c:pt>
                <c:pt idx="392">
                  <c:v>43888</c:v>
                </c:pt>
                <c:pt idx="393">
                  <c:v>43889</c:v>
                </c:pt>
                <c:pt idx="394">
                  <c:v>43892</c:v>
                </c:pt>
                <c:pt idx="395">
                  <c:v>43893</c:v>
                </c:pt>
                <c:pt idx="396">
                  <c:v>43894</c:v>
                </c:pt>
                <c:pt idx="397">
                  <c:v>43895</c:v>
                </c:pt>
                <c:pt idx="398">
                  <c:v>43896</c:v>
                </c:pt>
                <c:pt idx="399">
                  <c:v>43899</c:v>
                </c:pt>
                <c:pt idx="400">
                  <c:v>43900</c:v>
                </c:pt>
                <c:pt idx="401">
                  <c:v>43901</c:v>
                </c:pt>
                <c:pt idx="402">
                  <c:v>43902</c:v>
                </c:pt>
                <c:pt idx="403">
                  <c:v>43903</c:v>
                </c:pt>
                <c:pt idx="404">
                  <c:v>43906</c:v>
                </c:pt>
                <c:pt idx="405">
                  <c:v>43907</c:v>
                </c:pt>
                <c:pt idx="406">
                  <c:v>43908</c:v>
                </c:pt>
                <c:pt idx="407">
                  <c:v>43909</c:v>
                </c:pt>
                <c:pt idx="408">
                  <c:v>43910</c:v>
                </c:pt>
                <c:pt idx="409">
                  <c:v>43913</c:v>
                </c:pt>
                <c:pt idx="410">
                  <c:v>43914</c:v>
                </c:pt>
                <c:pt idx="411">
                  <c:v>43915</c:v>
                </c:pt>
                <c:pt idx="412">
                  <c:v>43916</c:v>
                </c:pt>
                <c:pt idx="413">
                  <c:v>43917</c:v>
                </c:pt>
                <c:pt idx="414">
                  <c:v>43920</c:v>
                </c:pt>
                <c:pt idx="415">
                  <c:v>43921</c:v>
                </c:pt>
                <c:pt idx="416">
                  <c:v>43922</c:v>
                </c:pt>
                <c:pt idx="417">
                  <c:v>43923</c:v>
                </c:pt>
                <c:pt idx="418">
                  <c:v>43924</c:v>
                </c:pt>
                <c:pt idx="419">
                  <c:v>43927</c:v>
                </c:pt>
                <c:pt idx="420">
                  <c:v>43928</c:v>
                </c:pt>
                <c:pt idx="421">
                  <c:v>43929</c:v>
                </c:pt>
                <c:pt idx="422">
                  <c:v>43930</c:v>
                </c:pt>
                <c:pt idx="423">
                  <c:v>43934</c:v>
                </c:pt>
                <c:pt idx="424">
                  <c:v>43935</c:v>
                </c:pt>
                <c:pt idx="425">
                  <c:v>43936</c:v>
                </c:pt>
                <c:pt idx="426">
                  <c:v>43937</c:v>
                </c:pt>
                <c:pt idx="427">
                  <c:v>43938</c:v>
                </c:pt>
                <c:pt idx="428">
                  <c:v>43941</c:v>
                </c:pt>
                <c:pt idx="429">
                  <c:v>43942</c:v>
                </c:pt>
                <c:pt idx="430">
                  <c:v>43943</c:v>
                </c:pt>
                <c:pt idx="431">
                  <c:v>43944</c:v>
                </c:pt>
                <c:pt idx="432">
                  <c:v>43945</c:v>
                </c:pt>
                <c:pt idx="433">
                  <c:v>43948</c:v>
                </c:pt>
                <c:pt idx="434">
                  <c:v>43949</c:v>
                </c:pt>
                <c:pt idx="435">
                  <c:v>43950</c:v>
                </c:pt>
                <c:pt idx="436">
                  <c:v>43951</c:v>
                </c:pt>
                <c:pt idx="437">
                  <c:v>43952</c:v>
                </c:pt>
                <c:pt idx="438">
                  <c:v>43955</c:v>
                </c:pt>
                <c:pt idx="439">
                  <c:v>43956</c:v>
                </c:pt>
                <c:pt idx="440">
                  <c:v>43957</c:v>
                </c:pt>
                <c:pt idx="441">
                  <c:v>43958</c:v>
                </c:pt>
                <c:pt idx="442">
                  <c:v>43959</c:v>
                </c:pt>
                <c:pt idx="443">
                  <c:v>43962</c:v>
                </c:pt>
                <c:pt idx="444">
                  <c:v>43963</c:v>
                </c:pt>
                <c:pt idx="445">
                  <c:v>43964</c:v>
                </c:pt>
                <c:pt idx="446">
                  <c:v>43965</c:v>
                </c:pt>
                <c:pt idx="447">
                  <c:v>43966</c:v>
                </c:pt>
                <c:pt idx="448">
                  <c:v>43969</c:v>
                </c:pt>
                <c:pt idx="449">
                  <c:v>43970</c:v>
                </c:pt>
                <c:pt idx="450">
                  <c:v>43971</c:v>
                </c:pt>
                <c:pt idx="451">
                  <c:v>43972</c:v>
                </c:pt>
                <c:pt idx="452">
                  <c:v>43973</c:v>
                </c:pt>
                <c:pt idx="453">
                  <c:v>43976</c:v>
                </c:pt>
                <c:pt idx="454">
                  <c:v>43977</c:v>
                </c:pt>
                <c:pt idx="455">
                  <c:v>43978</c:v>
                </c:pt>
                <c:pt idx="456">
                  <c:v>43979</c:v>
                </c:pt>
                <c:pt idx="457">
                  <c:v>43980</c:v>
                </c:pt>
                <c:pt idx="458">
                  <c:v>43983</c:v>
                </c:pt>
                <c:pt idx="459">
                  <c:v>43984</c:v>
                </c:pt>
                <c:pt idx="460">
                  <c:v>43985</c:v>
                </c:pt>
                <c:pt idx="461">
                  <c:v>43986</c:v>
                </c:pt>
                <c:pt idx="462">
                  <c:v>43987</c:v>
                </c:pt>
                <c:pt idx="463">
                  <c:v>43990</c:v>
                </c:pt>
                <c:pt idx="464">
                  <c:v>43991</c:v>
                </c:pt>
                <c:pt idx="465">
                  <c:v>43992</c:v>
                </c:pt>
                <c:pt idx="466">
                  <c:v>43993</c:v>
                </c:pt>
                <c:pt idx="467">
                  <c:v>43994</c:v>
                </c:pt>
                <c:pt idx="468">
                  <c:v>43997</c:v>
                </c:pt>
                <c:pt idx="469">
                  <c:v>43998</c:v>
                </c:pt>
                <c:pt idx="470">
                  <c:v>43999</c:v>
                </c:pt>
                <c:pt idx="471">
                  <c:v>44000</c:v>
                </c:pt>
                <c:pt idx="472">
                  <c:v>44001</c:v>
                </c:pt>
                <c:pt idx="473">
                  <c:v>44004</c:v>
                </c:pt>
                <c:pt idx="474">
                  <c:v>44005</c:v>
                </c:pt>
                <c:pt idx="475">
                  <c:v>44006</c:v>
                </c:pt>
                <c:pt idx="476">
                  <c:v>44007</c:v>
                </c:pt>
                <c:pt idx="477">
                  <c:v>44008</c:v>
                </c:pt>
                <c:pt idx="478">
                  <c:v>44011</c:v>
                </c:pt>
                <c:pt idx="479">
                  <c:v>44012</c:v>
                </c:pt>
                <c:pt idx="480">
                  <c:v>44013</c:v>
                </c:pt>
                <c:pt idx="481">
                  <c:v>44014</c:v>
                </c:pt>
                <c:pt idx="482">
                  <c:v>44015</c:v>
                </c:pt>
                <c:pt idx="483">
                  <c:v>44018</c:v>
                </c:pt>
                <c:pt idx="484">
                  <c:v>44019</c:v>
                </c:pt>
                <c:pt idx="485">
                  <c:v>44020</c:v>
                </c:pt>
                <c:pt idx="486">
                  <c:v>44021</c:v>
                </c:pt>
                <c:pt idx="487">
                  <c:v>44022</c:v>
                </c:pt>
                <c:pt idx="488">
                  <c:v>44025</c:v>
                </c:pt>
                <c:pt idx="489">
                  <c:v>44026</c:v>
                </c:pt>
                <c:pt idx="490">
                  <c:v>44027</c:v>
                </c:pt>
                <c:pt idx="491">
                  <c:v>44028</c:v>
                </c:pt>
                <c:pt idx="492">
                  <c:v>44029</c:v>
                </c:pt>
                <c:pt idx="493">
                  <c:v>44032</c:v>
                </c:pt>
                <c:pt idx="494">
                  <c:v>44033</c:v>
                </c:pt>
                <c:pt idx="495">
                  <c:v>44034</c:v>
                </c:pt>
                <c:pt idx="496">
                  <c:v>44035</c:v>
                </c:pt>
                <c:pt idx="497">
                  <c:v>44036</c:v>
                </c:pt>
                <c:pt idx="498">
                  <c:v>44039</c:v>
                </c:pt>
                <c:pt idx="499">
                  <c:v>44040</c:v>
                </c:pt>
                <c:pt idx="500">
                  <c:v>44041</c:v>
                </c:pt>
                <c:pt idx="501">
                  <c:v>44042</c:v>
                </c:pt>
                <c:pt idx="502">
                  <c:v>44043</c:v>
                </c:pt>
                <c:pt idx="503">
                  <c:v>44046</c:v>
                </c:pt>
                <c:pt idx="504">
                  <c:v>44047</c:v>
                </c:pt>
                <c:pt idx="505">
                  <c:v>44048</c:v>
                </c:pt>
                <c:pt idx="506">
                  <c:v>44049</c:v>
                </c:pt>
                <c:pt idx="507">
                  <c:v>44050</c:v>
                </c:pt>
                <c:pt idx="508">
                  <c:v>44053</c:v>
                </c:pt>
                <c:pt idx="509">
                  <c:v>44054</c:v>
                </c:pt>
                <c:pt idx="510">
                  <c:v>44055</c:v>
                </c:pt>
                <c:pt idx="511">
                  <c:v>44056</c:v>
                </c:pt>
                <c:pt idx="512">
                  <c:v>44057</c:v>
                </c:pt>
                <c:pt idx="513">
                  <c:v>44060</c:v>
                </c:pt>
                <c:pt idx="514">
                  <c:v>44061</c:v>
                </c:pt>
                <c:pt idx="515">
                  <c:v>44062</c:v>
                </c:pt>
                <c:pt idx="516">
                  <c:v>44063</c:v>
                </c:pt>
                <c:pt idx="517">
                  <c:v>44064</c:v>
                </c:pt>
                <c:pt idx="518">
                  <c:v>44067</c:v>
                </c:pt>
                <c:pt idx="519">
                  <c:v>44068</c:v>
                </c:pt>
                <c:pt idx="520">
                  <c:v>44069</c:v>
                </c:pt>
                <c:pt idx="521">
                  <c:v>44070</c:v>
                </c:pt>
                <c:pt idx="522">
                  <c:v>44071</c:v>
                </c:pt>
                <c:pt idx="523">
                  <c:v>44074</c:v>
                </c:pt>
                <c:pt idx="524">
                  <c:v>44075</c:v>
                </c:pt>
                <c:pt idx="525">
                  <c:v>44076</c:v>
                </c:pt>
                <c:pt idx="526">
                  <c:v>44077</c:v>
                </c:pt>
                <c:pt idx="527">
                  <c:v>44078</c:v>
                </c:pt>
                <c:pt idx="528">
                  <c:v>44081</c:v>
                </c:pt>
                <c:pt idx="529">
                  <c:v>44082</c:v>
                </c:pt>
                <c:pt idx="530">
                  <c:v>44083</c:v>
                </c:pt>
                <c:pt idx="531">
                  <c:v>44084</c:v>
                </c:pt>
                <c:pt idx="532">
                  <c:v>44085</c:v>
                </c:pt>
                <c:pt idx="533">
                  <c:v>44088</c:v>
                </c:pt>
                <c:pt idx="534">
                  <c:v>44089</c:v>
                </c:pt>
                <c:pt idx="535">
                  <c:v>44090</c:v>
                </c:pt>
                <c:pt idx="536">
                  <c:v>44091</c:v>
                </c:pt>
                <c:pt idx="537">
                  <c:v>44092</c:v>
                </c:pt>
                <c:pt idx="538">
                  <c:v>44095</c:v>
                </c:pt>
                <c:pt idx="539">
                  <c:v>44096</c:v>
                </c:pt>
                <c:pt idx="540">
                  <c:v>44097</c:v>
                </c:pt>
                <c:pt idx="541">
                  <c:v>44098</c:v>
                </c:pt>
                <c:pt idx="542">
                  <c:v>44099</c:v>
                </c:pt>
                <c:pt idx="543">
                  <c:v>44102</c:v>
                </c:pt>
                <c:pt idx="544">
                  <c:v>44103</c:v>
                </c:pt>
                <c:pt idx="545">
                  <c:v>44104</c:v>
                </c:pt>
                <c:pt idx="546">
                  <c:v>44105</c:v>
                </c:pt>
                <c:pt idx="547">
                  <c:v>44106</c:v>
                </c:pt>
                <c:pt idx="548">
                  <c:v>44109</c:v>
                </c:pt>
                <c:pt idx="549">
                  <c:v>44110</c:v>
                </c:pt>
                <c:pt idx="550">
                  <c:v>44111</c:v>
                </c:pt>
                <c:pt idx="551">
                  <c:v>44112</c:v>
                </c:pt>
                <c:pt idx="552">
                  <c:v>44113</c:v>
                </c:pt>
                <c:pt idx="553">
                  <c:v>44116</c:v>
                </c:pt>
                <c:pt idx="554">
                  <c:v>44117</c:v>
                </c:pt>
                <c:pt idx="555">
                  <c:v>44118</c:v>
                </c:pt>
                <c:pt idx="556">
                  <c:v>44119</c:v>
                </c:pt>
                <c:pt idx="557">
                  <c:v>44120</c:v>
                </c:pt>
                <c:pt idx="558">
                  <c:v>44123</c:v>
                </c:pt>
                <c:pt idx="559">
                  <c:v>44124</c:v>
                </c:pt>
                <c:pt idx="560">
                  <c:v>44125</c:v>
                </c:pt>
                <c:pt idx="561">
                  <c:v>44126</c:v>
                </c:pt>
                <c:pt idx="562">
                  <c:v>44127</c:v>
                </c:pt>
                <c:pt idx="563">
                  <c:v>44130</c:v>
                </c:pt>
                <c:pt idx="564">
                  <c:v>44131</c:v>
                </c:pt>
                <c:pt idx="565">
                  <c:v>44132</c:v>
                </c:pt>
                <c:pt idx="566">
                  <c:v>44133</c:v>
                </c:pt>
                <c:pt idx="567">
                  <c:v>44134</c:v>
                </c:pt>
                <c:pt idx="568">
                  <c:v>44137</c:v>
                </c:pt>
                <c:pt idx="569">
                  <c:v>44138</c:v>
                </c:pt>
                <c:pt idx="570">
                  <c:v>44139</c:v>
                </c:pt>
                <c:pt idx="571">
                  <c:v>44140</c:v>
                </c:pt>
                <c:pt idx="572">
                  <c:v>44141</c:v>
                </c:pt>
                <c:pt idx="573">
                  <c:v>44144</c:v>
                </c:pt>
                <c:pt idx="574">
                  <c:v>44145</c:v>
                </c:pt>
                <c:pt idx="575">
                  <c:v>44146</c:v>
                </c:pt>
                <c:pt idx="576">
                  <c:v>44147</c:v>
                </c:pt>
                <c:pt idx="577">
                  <c:v>44148</c:v>
                </c:pt>
                <c:pt idx="578">
                  <c:v>44151</c:v>
                </c:pt>
                <c:pt idx="579">
                  <c:v>44152</c:v>
                </c:pt>
                <c:pt idx="580">
                  <c:v>44153</c:v>
                </c:pt>
                <c:pt idx="581">
                  <c:v>44154</c:v>
                </c:pt>
                <c:pt idx="582">
                  <c:v>44155</c:v>
                </c:pt>
                <c:pt idx="583">
                  <c:v>44158</c:v>
                </c:pt>
                <c:pt idx="584">
                  <c:v>44159</c:v>
                </c:pt>
                <c:pt idx="585">
                  <c:v>44160</c:v>
                </c:pt>
                <c:pt idx="586">
                  <c:v>44161</c:v>
                </c:pt>
                <c:pt idx="587">
                  <c:v>44162</c:v>
                </c:pt>
                <c:pt idx="588">
                  <c:v>44165</c:v>
                </c:pt>
                <c:pt idx="589">
                  <c:v>44166</c:v>
                </c:pt>
                <c:pt idx="590">
                  <c:v>44167</c:v>
                </c:pt>
                <c:pt idx="591">
                  <c:v>44168</c:v>
                </c:pt>
                <c:pt idx="592">
                  <c:v>44169</c:v>
                </c:pt>
                <c:pt idx="593">
                  <c:v>44172</c:v>
                </c:pt>
                <c:pt idx="594">
                  <c:v>44173</c:v>
                </c:pt>
                <c:pt idx="595">
                  <c:v>44174</c:v>
                </c:pt>
                <c:pt idx="596">
                  <c:v>44175</c:v>
                </c:pt>
                <c:pt idx="597">
                  <c:v>44176</c:v>
                </c:pt>
                <c:pt idx="598">
                  <c:v>44179</c:v>
                </c:pt>
                <c:pt idx="599">
                  <c:v>44180</c:v>
                </c:pt>
                <c:pt idx="600">
                  <c:v>44181</c:v>
                </c:pt>
                <c:pt idx="601">
                  <c:v>44182</c:v>
                </c:pt>
                <c:pt idx="602">
                  <c:v>44183</c:v>
                </c:pt>
                <c:pt idx="603">
                  <c:v>44186</c:v>
                </c:pt>
                <c:pt idx="604">
                  <c:v>44187</c:v>
                </c:pt>
                <c:pt idx="605">
                  <c:v>44188</c:v>
                </c:pt>
                <c:pt idx="606">
                  <c:v>44189</c:v>
                </c:pt>
                <c:pt idx="607">
                  <c:v>44193</c:v>
                </c:pt>
                <c:pt idx="608">
                  <c:v>44194</c:v>
                </c:pt>
                <c:pt idx="609">
                  <c:v>44195</c:v>
                </c:pt>
                <c:pt idx="610">
                  <c:v>44196</c:v>
                </c:pt>
                <c:pt idx="611">
                  <c:v>44200</c:v>
                </c:pt>
                <c:pt idx="612">
                  <c:v>44201</c:v>
                </c:pt>
                <c:pt idx="613">
                  <c:v>44202</c:v>
                </c:pt>
                <c:pt idx="614">
                  <c:v>44203</c:v>
                </c:pt>
                <c:pt idx="615">
                  <c:v>44204</c:v>
                </c:pt>
                <c:pt idx="616">
                  <c:v>44207</c:v>
                </c:pt>
                <c:pt idx="617">
                  <c:v>44208</c:v>
                </c:pt>
                <c:pt idx="618">
                  <c:v>44209</c:v>
                </c:pt>
                <c:pt idx="619">
                  <c:v>44210</c:v>
                </c:pt>
                <c:pt idx="620">
                  <c:v>44211</c:v>
                </c:pt>
                <c:pt idx="621">
                  <c:v>44214</c:v>
                </c:pt>
                <c:pt idx="622">
                  <c:v>44215</c:v>
                </c:pt>
                <c:pt idx="623">
                  <c:v>44216</c:v>
                </c:pt>
                <c:pt idx="624">
                  <c:v>44217</c:v>
                </c:pt>
                <c:pt idx="625">
                  <c:v>44218</c:v>
                </c:pt>
                <c:pt idx="626">
                  <c:v>44221</c:v>
                </c:pt>
                <c:pt idx="627">
                  <c:v>44222</c:v>
                </c:pt>
                <c:pt idx="628">
                  <c:v>44223</c:v>
                </c:pt>
                <c:pt idx="629">
                  <c:v>44224</c:v>
                </c:pt>
                <c:pt idx="630">
                  <c:v>44225</c:v>
                </c:pt>
                <c:pt idx="631">
                  <c:v>44228</c:v>
                </c:pt>
                <c:pt idx="632">
                  <c:v>44229</c:v>
                </c:pt>
                <c:pt idx="633">
                  <c:v>44230</c:v>
                </c:pt>
                <c:pt idx="634">
                  <c:v>44231</c:v>
                </c:pt>
                <c:pt idx="635">
                  <c:v>44232</c:v>
                </c:pt>
                <c:pt idx="636">
                  <c:v>44235</c:v>
                </c:pt>
                <c:pt idx="637">
                  <c:v>44236</c:v>
                </c:pt>
                <c:pt idx="638">
                  <c:v>44237</c:v>
                </c:pt>
                <c:pt idx="639">
                  <c:v>44238</c:v>
                </c:pt>
                <c:pt idx="640">
                  <c:v>44239</c:v>
                </c:pt>
                <c:pt idx="641">
                  <c:v>44242</c:v>
                </c:pt>
                <c:pt idx="642">
                  <c:v>44243</c:v>
                </c:pt>
                <c:pt idx="643">
                  <c:v>44244</c:v>
                </c:pt>
                <c:pt idx="644">
                  <c:v>44245</c:v>
                </c:pt>
                <c:pt idx="645">
                  <c:v>44246</c:v>
                </c:pt>
                <c:pt idx="646">
                  <c:v>44249</c:v>
                </c:pt>
                <c:pt idx="647">
                  <c:v>44250</c:v>
                </c:pt>
                <c:pt idx="648">
                  <c:v>44251</c:v>
                </c:pt>
                <c:pt idx="649">
                  <c:v>44252</c:v>
                </c:pt>
                <c:pt idx="650">
                  <c:v>44253</c:v>
                </c:pt>
                <c:pt idx="651">
                  <c:v>44256</c:v>
                </c:pt>
                <c:pt idx="652">
                  <c:v>44257</c:v>
                </c:pt>
                <c:pt idx="653">
                  <c:v>44258</c:v>
                </c:pt>
                <c:pt idx="654">
                  <c:v>44259</c:v>
                </c:pt>
                <c:pt idx="655">
                  <c:v>44260</c:v>
                </c:pt>
                <c:pt idx="656">
                  <c:v>44263</c:v>
                </c:pt>
                <c:pt idx="657">
                  <c:v>44264</c:v>
                </c:pt>
                <c:pt idx="658">
                  <c:v>44265</c:v>
                </c:pt>
                <c:pt idx="659">
                  <c:v>44266</c:v>
                </c:pt>
                <c:pt idx="660">
                  <c:v>44267</c:v>
                </c:pt>
                <c:pt idx="661">
                  <c:v>44270</c:v>
                </c:pt>
                <c:pt idx="662">
                  <c:v>44271</c:v>
                </c:pt>
                <c:pt idx="663">
                  <c:v>44272</c:v>
                </c:pt>
                <c:pt idx="664">
                  <c:v>44273</c:v>
                </c:pt>
                <c:pt idx="665">
                  <c:v>44274</c:v>
                </c:pt>
                <c:pt idx="666">
                  <c:v>44277</c:v>
                </c:pt>
                <c:pt idx="667">
                  <c:v>44278</c:v>
                </c:pt>
                <c:pt idx="668">
                  <c:v>44279</c:v>
                </c:pt>
                <c:pt idx="669">
                  <c:v>44280</c:v>
                </c:pt>
                <c:pt idx="670">
                  <c:v>44281</c:v>
                </c:pt>
                <c:pt idx="671">
                  <c:v>44284</c:v>
                </c:pt>
                <c:pt idx="672">
                  <c:v>44285</c:v>
                </c:pt>
                <c:pt idx="673">
                  <c:v>44286</c:v>
                </c:pt>
                <c:pt idx="674">
                  <c:v>44287</c:v>
                </c:pt>
                <c:pt idx="675">
                  <c:v>44288</c:v>
                </c:pt>
                <c:pt idx="676">
                  <c:v>44291</c:v>
                </c:pt>
                <c:pt idx="677">
                  <c:v>44292</c:v>
                </c:pt>
                <c:pt idx="678">
                  <c:v>44293</c:v>
                </c:pt>
                <c:pt idx="679">
                  <c:v>44294</c:v>
                </c:pt>
                <c:pt idx="680">
                  <c:v>44295</c:v>
                </c:pt>
                <c:pt idx="681">
                  <c:v>44298</c:v>
                </c:pt>
                <c:pt idx="682">
                  <c:v>44299</c:v>
                </c:pt>
                <c:pt idx="683">
                  <c:v>44300</c:v>
                </c:pt>
                <c:pt idx="684">
                  <c:v>44301</c:v>
                </c:pt>
                <c:pt idx="685">
                  <c:v>44302</c:v>
                </c:pt>
                <c:pt idx="686">
                  <c:v>44305</c:v>
                </c:pt>
                <c:pt idx="687">
                  <c:v>44306</c:v>
                </c:pt>
                <c:pt idx="688">
                  <c:v>44307</c:v>
                </c:pt>
                <c:pt idx="689">
                  <c:v>44308</c:v>
                </c:pt>
                <c:pt idx="690">
                  <c:v>44309</c:v>
                </c:pt>
                <c:pt idx="691">
                  <c:v>44312</c:v>
                </c:pt>
                <c:pt idx="692">
                  <c:v>44313</c:v>
                </c:pt>
                <c:pt idx="693">
                  <c:v>44314</c:v>
                </c:pt>
                <c:pt idx="694">
                  <c:v>44315</c:v>
                </c:pt>
                <c:pt idx="695">
                  <c:v>44316</c:v>
                </c:pt>
                <c:pt idx="696">
                  <c:v>44319</c:v>
                </c:pt>
                <c:pt idx="697">
                  <c:v>44320</c:v>
                </c:pt>
                <c:pt idx="698">
                  <c:v>44321</c:v>
                </c:pt>
                <c:pt idx="699">
                  <c:v>44322</c:v>
                </c:pt>
                <c:pt idx="700">
                  <c:v>44323</c:v>
                </c:pt>
                <c:pt idx="701">
                  <c:v>44326</c:v>
                </c:pt>
                <c:pt idx="702">
                  <c:v>44327</c:v>
                </c:pt>
                <c:pt idx="703">
                  <c:v>44328</c:v>
                </c:pt>
                <c:pt idx="704">
                  <c:v>44329</c:v>
                </c:pt>
                <c:pt idx="705">
                  <c:v>44330</c:v>
                </c:pt>
                <c:pt idx="706">
                  <c:v>44333</c:v>
                </c:pt>
                <c:pt idx="707">
                  <c:v>44334</c:v>
                </c:pt>
                <c:pt idx="708">
                  <c:v>44335</c:v>
                </c:pt>
                <c:pt idx="709">
                  <c:v>44336</c:v>
                </c:pt>
                <c:pt idx="710">
                  <c:v>44337</c:v>
                </c:pt>
                <c:pt idx="711">
                  <c:v>44340</c:v>
                </c:pt>
                <c:pt idx="712">
                  <c:v>44341</c:v>
                </c:pt>
                <c:pt idx="713">
                  <c:v>44342</c:v>
                </c:pt>
                <c:pt idx="714">
                  <c:v>44343</c:v>
                </c:pt>
                <c:pt idx="715">
                  <c:v>44344</c:v>
                </c:pt>
                <c:pt idx="716">
                  <c:v>44347</c:v>
                </c:pt>
                <c:pt idx="717">
                  <c:v>44348</c:v>
                </c:pt>
                <c:pt idx="718">
                  <c:v>44349</c:v>
                </c:pt>
                <c:pt idx="719">
                  <c:v>44350</c:v>
                </c:pt>
                <c:pt idx="720">
                  <c:v>44351</c:v>
                </c:pt>
                <c:pt idx="721">
                  <c:v>44354</c:v>
                </c:pt>
                <c:pt idx="722">
                  <c:v>44355</c:v>
                </c:pt>
                <c:pt idx="723">
                  <c:v>44356</c:v>
                </c:pt>
                <c:pt idx="724">
                  <c:v>44357</c:v>
                </c:pt>
                <c:pt idx="725">
                  <c:v>44358</c:v>
                </c:pt>
                <c:pt idx="726">
                  <c:v>44361</c:v>
                </c:pt>
                <c:pt idx="727">
                  <c:v>44362</c:v>
                </c:pt>
                <c:pt idx="728">
                  <c:v>44363</c:v>
                </c:pt>
                <c:pt idx="729">
                  <c:v>44364</c:v>
                </c:pt>
                <c:pt idx="730">
                  <c:v>44365</c:v>
                </c:pt>
                <c:pt idx="731">
                  <c:v>44368</c:v>
                </c:pt>
                <c:pt idx="732">
                  <c:v>44369</c:v>
                </c:pt>
                <c:pt idx="733">
                  <c:v>44370</c:v>
                </c:pt>
                <c:pt idx="734">
                  <c:v>44371</c:v>
                </c:pt>
                <c:pt idx="735">
                  <c:v>44372</c:v>
                </c:pt>
                <c:pt idx="736">
                  <c:v>44375</c:v>
                </c:pt>
                <c:pt idx="737">
                  <c:v>44376</c:v>
                </c:pt>
                <c:pt idx="738">
                  <c:v>44377</c:v>
                </c:pt>
                <c:pt idx="739">
                  <c:v>44378</c:v>
                </c:pt>
                <c:pt idx="740">
                  <c:v>44379</c:v>
                </c:pt>
                <c:pt idx="741">
                  <c:v>44382</c:v>
                </c:pt>
                <c:pt idx="742">
                  <c:v>44383</c:v>
                </c:pt>
                <c:pt idx="743">
                  <c:v>44384</c:v>
                </c:pt>
                <c:pt idx="744">
                  <c:v>44385</c:v>
                </c:pt>
                <c:pt idx="745">
                  <c:v>44386</c:v>
                </c:pt>
                <c:pt idx="746">
                  <c:v>44389</c:v>
                </c:pt>
                <c:pt idx="747">
                  <c:v>44390</c:v>
                </c:pt>
                <c:pt idx="748">
                  <c:v>44391</c:v>
                </c:pt>
                <c:pt idx="749">
                  <c:v>44392</c:v>
                </c:pt>
                <c:pt idx="750">
                  <c:v>44393</c:v>
                </c:pt>
                <c:pt idx="751">
                  <c:v>44396</c:v>
                </c:pt>
                <c:pt idx="752">
                  <c:v>44397</c:v>
                </c:pt>
                <c:pt idx="753">
                  <c:v>44398</c:v>
                </c:pt>
                <c:pt idx="754">
                  <c:v>44399</c:v>
                </c:pt>
                <c:pt idx="755">
                  <c:v>44400</c:v>
                </c:pt>
                <c:pt idx="756">
                  <c:v>44403</c:v>
                </c:pt>
                <c:pt idx="757">
                  <c:v>44404</c:v>
                </c:pt>
                <c:pt idx="758">
                  <c:v>44405</c:v>
                </c:pt>
                <c:pt idx="759">
                  <c:v>44406</c:v>
                </c:pt>
                <c:pt idx="760">
                  <c:v>44407</c:v>
                </c:pt>
                <c:pt idx="761">
                  <c:v>44410</c:v>
                </c:pt>
                <c:pt idx="762">
                  <c:v>44411</c:v>
                </c:pt>
                <c:pt idx="763">
                  <c:v>44412</c:v>
                </c:pt>
                <c:pt idx="764">
                  <c:v>44413</c:v>
                </c:pt>
                <c:pt idx="765">
                  <c:v>44414</c:v>
                </c:pt>
                <c:pt idx="766">
                  <c:v>44417</c:v>
                </c:pt>
                <c:pt idx="767">
                  <c:v>44418</c:v>
                </c:pt>
                <c:pt idx="768">
                  <c:v>44419</c:v>
                </c:pt>
                <c:pt idx="769">
                  <c:v>44420</c:v>
                </c:pt>
                <c:pt idx="770">
                  <c:v>44421</c:v>
                </c:pt>
                <c:pt idx="771">
                  <c:v>44424</c:v>
                </c:pt>
                <c:pt idx="772">
                  <c:v>44425</c:v>
                </c:pt>
                <c:pt idx="773">
                  <c:v>44426</c:v>
                </c:pt>
                <c:pt idx="774">
                  <c:v>44427</c:v>
                </c:pt>
                <c:pt idx="775">
                  <c:v>44428</c:v>
                </c:pt>
                <c:pt idx="776">
                  <c:v>44431</c:v>
                </c:pt>
                <c:pt idx="777">
                  <c:v>44432</c:v>
                </c:pt>
                <c:pt idx="778">
                  <c:v>44433</c:v>
                </c:pt>
                <c:pt idx="779">
                  <c:v>44434</c:v>
                </c:pt>
                <c:pt idx="780">
                  <c:v>44435</c:v>
                </c:pt>
                <c:pt idx="781">
                  <c:v>44438</c:v>
                </c:pt>
                <c:pt idx="782">
                  <c:v>44439</c:v>
                </c:pt>
                <c:pt idx="783">
                  <c:v>44440</c:v>
                </c:pt>
                <c:pt idx="784">
                  <c:v>44441</c:v>
                </c:pt>
                <c:pt idx="785">
                  <c:v>44442</c:v>
                </c:pt>
                <c:pt idx="786">
                  <c:v>44445</c:v>
                </c:pt>
                <c:pt idx="787">
                  <c:v>44446</c:v>
                </c:pt>
                <c:pt idx="788">
                  <c:v>44447</c:v>
                </c:pt>
                <c:pt idx="789">
                  <c:v>44448</c:v>
                </c:pt>
                <c:pt idx="790">
                  <c:v>44449</c:v>
                </c:pt>
                <c:pt idx="791">
                  <c:v>44452</c:v>
                </c:pt>
                <c:pt idx="792">
                  <c:v>44453</c:v>
                </c:pt>
                <c:pt idx="793">
                  <c:v>44454</c:v>
                </c:pt>
                <c:pt idx="794">
                  <c:v>44455</c:v>
                </c:pt>
                <c:pt idx="795">
                  <c:v>44456</c:v>
                </c:pt>
                <c:pt idx="796">
                  <c:v>44459</c:v>
                </c:pt>
                <c:pt idx="797">
                  <c:v>44460</c:v>
                </c:pt>
                <c:pt idx="798">
                  <c:v>44461</c:v>
                </c:pt>
                <c:pt idx="799">
                  <c:v>44462</c:v>
                </c:pt>
                <c:pt idx="800">
                  <c:v>44463</c:v>
                </c:pt>
                <c:pt idx="801">
                  <c:v>44466</c:v>
                </c:pt>
                <c:pt idx="802">
                  <c:v>44467</c:v>
                </c:pt>
                <c:pt idx="803">
                  <c:v>44468</c:v>
                </c:pt>
                <c:pt idx="804">
                  <c:v>44469</c:v>
                </c:pt>
                <c:pt idx="805">
                  <c:v>44470</c:v>
                </c:pt>
                <c:pt idx="806">
                  <c:v>44473</c:v>
                </c:pt>
                <c:pt idx="807">
                  <c:v>44474</c:v>
                </c:pt>
                <c:pt idx="808">
                  <c:v>44475</c:v>
                </c:pt>
                <c:pt idx="809">
                  <c:v>44476</c:v>
                </c:pt>
                <c:pt idx="810">
                  <c:v>44477</c:v>
                </c:pt>
                <c:pt idx="811">
                  <c:v>44480</c:v>
                </c:pt>
                <c:pt idx="812">
                  <c:v>44481</c:v>
                </c:pt>
                <c:pt idx="813">
                  <c:v>44482</c:v>
                </c:pt>
                <c:pt idx="814">
                  <c:v>44483</c:v>
                </c:pt>
                <c:pt idx="815">
                  <c:v>44484</c:v>
                </c:pt>
                <c:pt idx="816">
                  <c:v>44487</c:v>
                </c:pt>
                <c:pt idx="817">
                  <c:v>44488</c:v>
                </c:pt>
                <c:pt idx="818">
                  <c:v>44489</c:v>
                </c:pt>
                <c:pt idx="819">
                  <c:v>44490</c:v>
                </c:pt>
                <c:pt idx="820">
                  <c:v>44491</c:v>
                </c:pt>
                <c:pt idx="821">
                  <c:v>44494</c:v>
                </c:pt>
                <c:pt idx="822">
                  <c:v>44495</c:v>
                </c:pt>
                <c:pt idx="823">
                  <c:v>44496</c:v>
                </c:pt>
                <c:pt idx="824">
                  <c:v>44497</c:v>
                </c:pt>
                <c:pt idx="825">
                  <c:v>44498</c:v>
                </c:pt>
                <c:pt idx="826">
                  <c:v>44501</c:v>
                </c:pt>
                <c:pt idx="827">
                  <c:v>44502</c:v>
                </c:pt>
                <c:pt idx="828">
                  <c:v>44503</c:v>
                </c:pt>
                <c:pt idx="829">
                  <c:v>44504</c:v>
                </c:pt>
                <c:pt idx="830">
                  <c:v>44505</c:v>
                </c:pt>
                <c:pt idx="831">
                  <c:v>44508</c:v>
                </c:pt>
                <c:pt idx="832">
                  <c:v>44509</c:v>
                </c:pt>
                <c:pt idx="833">
                  <c:v>44510</c:v>
                </c:pt>
                <c:pt idx="834">
                  <c:v>44511</c:v>
                </c:pt>
                <c:pt idx="835">
                  <c:v>44512</c:v>
                </c:pt>
                <c:pt idx="836">
                  <c:v>44515</c:v>
                </c:pt>
                <c:pt idx="837">
                  <c:v>44516</c:v>
                </c:pt>
                <c:pt idx="838">
                  <c:v>44517</c:v>
                </c:pt>
                <c:pt idx="839">
                  <c:v>44518</c:v>
                </c:pt>
                <c:pt idx="840">
                  <c:v>44519</c:v>
                </c:pt>
                <c:pt idx="841">
                  <c:v>44522</c:v>
                </c:pt>
                <c:pt idx="842">
                  <c:v>44523</c:v>
                </c:pt>
                <c:pt idx="843">
                  <c:v>44524</c:v>
                </c:pt>
                <c:pt idx="844">
                  <c:v>44525</c:v>
                </c:pt>
                <c:pt idx="845">
                  <c:v>44526</c:v>
                </c:pt>
                <c:pt idx="846">
                  <c:v>44529</c:v>
                </c:pt>
                <c:pt idx="847">
                  <c:v>44530</c:v>
                </c:pt>
                <c:pt idx="848">
                  <c:v>44531</c:v>
                </c:pt>
                <c:pt idx="849">
                  <c:v>44532</c:v>
                </c:pt>
                <c:pt idx="850">
                  <c:v>44533</c:v>
                </c:pt>
                <c:pt idx="851">
                  <c:v>44536</c:v>
                </c:pt>
                <c:pt idx="852">
                  <c:v>44537</c:v>
                </c:pt>
                <c:pt idx="853">
                  <c:v>44538</c:v>
                </c:pt>
                <c:pt idx="854">
                  <c:v>44539</c:v>
                </c:pt>
                <c:pt idx="855">
                  <c:v>44540</c:v>
                </c:pt>
                <c:pt idx="856">
                  <c:v>44543</c:v>
                </c:pt>
                <c:pt idx="857">
                  <c:v>44544</c:v>
                </c:pt>
                <c:pt idx="858">
                  <c:v>44545</c:v>
                </c:pt>
                <c:pt idx="859">
                  <c:v>44546</c:v>
                </c:pt>
                <c:pt idx="860">
                  <c:v>44547</c:v>
                </c:pt>
                <c:pt idx="861">
                  <c:v>44550</c:v>
                </c:pt>
                <c:pt idx="862">
                  <c:v>44551</c:v>
                </c:pt>
                <c:pt idx="863">
                  <c:v>44552</c:v>
                </c:pt>
                <c:pt idx="864">
                  <c:v>44553</c:v>
                </c:pt>
                <c:pt idx="865">
                  <c:v>44554</c:v>
                </c:pt>
                <c:pt idx="866">
                  <c:v>44557</c:v>
                </c:pt>
                <c:pt idx="867">
                  <c:v>44558</c:v>
                </c:pt>
                <c:pt idx="868">
                  <c:v>44559</c:v>
                </c:pt>
                <c:pt idx="869">
                  <c:v>44560</c:v>
                </c:pt>
                <c:pt idx="870">
                  <c:v>44561</c:v>
                </c:pt>
                <c:pt idx="871">
                  <c:v>44564</c:v>
                </c:pt>
                <c:pt idx="872">
                  <c:v>44565</c:v>
                </c:pt>
                <c:pt idx="873">
                  <c:v>44566</c:v>
                </c:pt>
                <c:pt idx="874">
                  <c:v>44567</c:v>
                </c:pt>
                <c:pt idx="875">
                  <c:v>44568</c:v>
                </c:pt>
                <c:pt idx="876">
                  <c:v>44571</c:v>
                </c:pt>
                <c:pt idx="877">
                  <c:v>44572</c:v>
                </c:pt>
                <c:pt idx="878">
                  <c:v>44573</c:v>
                </c:pt>
                <c:pt idx="879">
                  <c:v>44574</c:v>
                </c:pt>
                <c:pt idx="880">
                  <c:v>44575</c:v>
                </c:pt>
                <c:pt idx="881">
                  <c:v>44578</c:v>
                </c:pt>
                <c:pt idx="882">
                  <c:v>44579</c:v>
                </c:pt>
                <c:pt idx="883">
                  <c:v>44580</c:v>
                </c:pt>
                <c:pt idx="884">
                  <c:v>44581</c:v>
                </c:pt>
                <c:pt idx="885">
                  <c:v>44582</c:v>
                </c:pt>
                <c:pt idx="886">
                  <c:v>44585</c:v>
                </c:pt>
                <c:pt idx="887">
                  <c:v>44586</c:v>
                </c:pt>
                <c:pt idx="888">
                  <c:v>44587</c:v>
                </c:pt>
                <c:pt idx="889">
                  <c:v>44588</c:v>
                </c:pt>
                <c:pt idx="890">
                  <c:v>44589</c:v>
                </c:pt>
                <c:pt idx="891">
                  <c:v>44592</c:v>
                </c:pt>
                <c:pt idx="892">
                  <c:v>44593</c:v>
                </c:pt>
                <c:pt idx="893">
                  <c:v>44594</c:v>
                </c:pt>
                <c:pt idx="894">
                  <c:v>44595</c:v>
                </c:pt>
                <c:pt idx="895">
                  <c:v>44596</c:v>
                </c:pt>
                <c:pt idx="896">
                  <c:v>44599</c:v>
                </c:pt>
                <c:pt idx="897">
                  <c:v>44600</c:v>
                </c:pt>
                <c:pt idx="898">
                  <c:v>44601</c:v>
                </c:pt>
                <c:pt idx="899">
                  <c:v>44602</c:v>
                </c:pt>
                <c:pt idx="900">
                  <c:v>44603</c:v>
                </c:pt>
                <c:pt idx="901">
                  <c:v>44606</c:v>
                </c:pt>
                <c:pt idx="902">
                  <c:v>44607</c:v>
                </c:pt>
                <c:pt idx="903">
                  <c:v>44608</c:v>
                </c:pt>
                <c:pt idx="904">
                  <c:v>44609</c:v>
                </c:pt>
                <c:pt idx="905">
                  <c:v>44610</c:v>
                </c:pt>
                <c:pt idx="906">
                  <c:v>44613</c:v>
                </c:pt>
                <c:pt idx="907">
                  <c:v>44614</c:v>
                </c:pt>
                <c:pt idx="908">
                  <c:v>44615</c:v>
                </c:pt>
                <c:pt idx="909">
                  <c:v>44616</c:v>
                </c:pt>
                <c:pt idx="910">
                  <c:v>44617</c:v>
                </c:pt>
                <c:pt idx="911">
                  <c:v>44620</c:v>
                </c:pt>
                <c:pt idx="912">
                  <c:v>44621</c:v>
                </c:pt>
                <c:pt idx="913">
                  <c:v>44622</c:v>
                </c:pt>
                <c:pt idx="914">
                  <c:v>44623</c:v>
                </c:pt>
                <c:pt idx="915">
                  <c:v>44624</c:v>
                </c:pt>
                <c:pt idx="916">
                  <c:v>44627</c:v>
                </c:pt>
                <c:pt idx="917">
                  <c:v>44628</c:v>
                </c:pt>
                <c:pt idx="918">
                  <c:v>44629</c:v>
                </c:pt>
                <c:pt idx="919">
                  <c:v>44630</c:v>
                </c:pt>
                <c:pt idx="920">
                  <c:v>44631</c:v>
                </c:pt>
                <c:pt idx="921">
                  <c:v>44634</c:v>
                </c:pt>
                <c:pt idx="922">
                  <c:v>44635</c:v>
                </c:pt>
                <c:pt idx="923">
                  <c:v>44636</c:v>
                </c:pt>
                <c:pt idx="924">
                  <c:v>44637</c:v>
                </c:pt>
                <c:pt idx="925">
                  <c:v>44638</c:v>
                </c:pt>
                <c:pt idx="926">
                  <c:v>44641</c:v>
                </c:pt>
                <c:pt idx="927">
                  <c:v>44642</c:v>
                </c:pt>
                <c:pt idx="928">
                  <c:v>44643</c:v>
                </c:pt>
                <c:pt idx="929">
                  <c:v>44644</c:v>
                </c:pt>
                <c:pt idx="930">
                  <c:v>44645</c:v>
                </c:pt>
                <c:pt idx="931">
                  <c:v>44648</c:v>
                </c:pt>
                <c:pt idx="932">
                  <c:v>44649</c:v>
                </c:pt>
                <c:pt idx="933">
                  <c:v>44650</c:v>
                </c:pt>
                <c:pt idx="934">
                  <c:v>44651</c:v>
                </c:pt>
                <c:pt idx="935">
                  <c:v>44652</c:v>
                </c:pt>
                <c:pt idx="936">
                  <c:v>44655</c:v>
                </c:pt>
                <c:pt idx="937">
                  <c:v>44656</c:v>
                </c:pt>
                <c:pt idx="938">
                  <c:v>44657</c:v>
                </c:pt>
                <c:pt idx="939">
                  <c:v>44658</c:v>
                </c:pt>
                <c:pt idx="940">
                  <c:v>44659</c:v>
                </c:pt>
                <c:pt idx="941">
                  <c:v>44662</c:v>
                </c:pt>
                <c:pt idx="942">
                  <c:v>44663</c:v>
                </c:pt>
                <c:pt idx="943">
                  <c:v>44664</c:v>
                </c:pt>
                <c:pt idx="944">
                  <c:v>44665</c:v>
                </c:pt>
                <c:pt idx="945">
                  <c:v>44666</c:v>
                </c:pt>
                <c:pt idx="946">
                  <c:v>44669</c:v>
                </c:pt>
                <c:pt idx="947">
                  <c:v>44670</c:v>
                </c:pt>
                <c:pt idx="948">
                  <c:v>44671</c:v>
                </c:pt>
                <c:pt idx="949">
                  <c:v>44672</c:v>
                </c:pt>
                <c:pt idx="950">
                  <c:v>44673</c:v>
                </c:pt>
                <c:pt idx="951">
                  <c:v>44676</c:v>
                </c:pt>
                <c:pt idx="952">
                  <c:v>44677</c:v>
                </c:pt>
                <c:pt idx="953">
                  <c:v>44678</c:v>
                </c:pt>
                <c:pt idx="954">
                  <c:v>44679</c:v>
                </c:pt>
                <c:pt idx="955">
                  <c:v>44680</c:v>
                </c:pt>
                <c:pt idx="956">
                  <c:v>44683</c:v>
                </c:pt>
                <c:pt idx="957">
                  <c:v>44684</c:v>
                </c:pt>
                <c:pt idx="958">
                  <c:v>44685</c:v>
                </c:pt>
                <c:pt idx="959">
                  <c:v>44686</c:v>
                </c:pt>
                <c:pt idx="960">
                  <c:v>44687</c:v>
                </c:pt>
                <c:pt idx="961">
                  <c:v>44690</c:v>
                </c:pt>
                <c:pt idx="962">
                  <c:v>44691</c:v>
                </c:pt>
                <c:pt idx="963">
                  <c:v>44692</c:v>
                </c:pt>
                <c:pt idx="964">
                  <c:v>44693</c:v>
                </c:pt>
                <c:pt idx="965">
                  <c:v>44694</c:v>
                </c:pt>
                <c:pt idx="966">
                  <c:v>44697</c:v>
                </c:pt>
                <c:pt idx="967">
                  <c:v>44698</c:v>
                </c:pt>
                <c:pt idx="968">
                  <c:v>44699</c:v>
                </c:pt>
                <c:pt idx="969">
                  <c:v>44700</c:v>
                </c:pt>
                <c:pt idx="970">
                  <c:v>44701</c:v>
                </c:pt>
                <c:pt idx="971">
                  <c:v>44704</c:v>
                </c:pt>
                <c:pt idx="972">
                  <c:v>44705</c:v>
                </c:pt>
                <c:pt idx="973">
                  <c:v>44706</c:v>
                </c:pt>
                <c:pt idx="974">
                  <c:v>44707</c:v>
                </c:pt>
                <c:pt idx="975">
                  <c:v>44708</c:v>
                </c:pt>
                <c:pt idx="976">
                  <c:v>44711</c:v>
                </c:pt>
                <c:pt idx="977">
                  <c:v>44712</c:v>
                </c:pt>
                <c:pt idx="978">
                  <c:v>44713</c:v>
                </c:pt>
                <c:pt idx="979">
                  <c:v>44714</c:v>
                </c:pt>
                <c:pt idx="980">
                  <c:v>44715</c:v>
                </c:pt>
                <c:pt idx="981">
                  <c:v>44718</c:v>
                </c:pt>
                <c:pt idx="982">
                  <c:v>44719</c:v>
                </c:pt>
                <c:pt idx="983">
                  <c:v>44720</c:v>
                </c:pt>
                <c:pt idx="984">
                  <c:v>44721</c:v>
                </c:pt>
                <c:pt idx="985">
                  <c:v>44722</c:v>
                </c:pt>
                <c:pt idx="986">
                  <c:v>44725</c:v>
                </c:pt>
                <c:pt idx="987">
                  <c:v>44726</c:v>
                </c:pt>
                <c:pt idx="988">
                  <c:v>44727</c:v>
                </c:pt>
                <c:pt idx="989">
                  <c:v>44728</c:v>
                </c:pt>
                <c:pt idx="990">
                  <c:v>44729</c:v>
                </c:pt>
                <c:pt idx="991">
                  <c:v>44732</c:v>
                </c:pt>
                <c:pt idx="992">
                  <c:v>44733</c:v>
                </c:pt>
                <c:pt idx="993">
                  <c:v>44734</c:v>
                </c:pt>
                <c:pt idx="994">
                  <c:v>44735</c:v>
                </c:pt>
                <c:pt idx="995">
                  <c:v>44736</c:v>
                </c:pt>
                <c:pt idx="996">
                  <c:v>44739</c:v>
                </c:pt>
                <c:pt idx="997">
                  <c:v>44740</c:v>
                </c:pt>
                <c:pt idx="998">
                  <c:v>44741</c:v>
                </c:pt>
                <c:pt idx="999">
                  <c:v>44742</c:v>
                </c:pt>
                <c:pt idx="1000">
                  <c:v>44743</c:v>
                </c:pt>
                <c:pt idx="1001">
                  <c:v>44746</c:v>
                </c:pt>
                <c:pt idx="1002">
                  <c:v>44747</c:v>
                </c:pt>
                <c:pt idx="1003">
                  <c:v>44748</c:v>
                </c:pt>
                <c:pt idx="1004">
                  <c:v>44749</c:v>
                </c:pt>
                <c:pt idx="1005">
                  <c:v>44750</c:v>
                </c:pt>
                <c:pt idx="1006">
                  <c:v>44753</c:v>
                </c:pt>
                <c:pt idx="1007">
                  <c:v>44754</c:v>
                </c:pt>
                <c:pt idx="1008">
                  <c:v>44755</c:v>
                </c:pt>
                <c:pt idx="1009">
                  <c:v>44756</c:v>
                </c:pt>
                <c:pt idx="1010">
                  <c:v>44757</c:v>
                </c:pt>
                <c:pt idx="1011">
                  <c:v>44760</c:v>
                </c:pt>
                <c:pt idx="1012">
                  <c:v>44761</c:v>
                </c:pt>
                <c:pt idx="1013">
                  <c:v>44762</c:v>
                </c:pt>
                <c:pt idx="1014">
                  <c:v>44763</c:v>
                </c:pt>
                <c:pt idx="1015">
                  <c:v>44764</c:v>
                </c:pt>
                <c:pt idx="1016">
                  <c:v>44767</c:v>
                </c:pt>
                <c:pt idx="1017">
                  <c:v>44768</c:v>
                </c:pt>
                <c:pt idx="1018">
                  <c:v>44769</c:v>
                </c:pt>
                <c:pt idx="1019">
                  <c:v>44770</c:v>
                </c:pt>
                <c:pt idx="1020">
                  <c:v>44771</c:v>
                </c:pt>
                <c:pt idx="1021">
                  <c:v>44774</c:v>
                </c:pt>
                <c:pt idx="1022">
                  <c:v>44775</c:v>
                </c:pt>
                <c:pt idx="1023">
                  <c:v>44776</c:v>
                </c:pt>
                <c:pt idx="1024">
                  <c:v>44777</c:v>
                </c:pt>
                <c:pt idx="1025">
                  <c:v>44778</c:v>
                </c:pt>
                <c:pt idx="1026">
                  <c:v>44781</c:v>
                </c:pt>
                <c:pt idx="1027">
                  <c:v>44782</c:v>
                </c:pt>
                <c:pt idx="1028">
                  <c:v>44783</c:v>
                </c:pt>
                <c:pt idx="1029">
                  <c:v>44784</c:v>
                </c:pt>
                <c:pt idx="1030">
                  <c:v>44785</c:v>
                </c:pt>
                <c:pt idx="1031">
                  <c:v>44788</c:v>
                </c:pt>
                <c:pt idx="1032">
                  <c:v>44789</c:v>
                </c:pt>
                <c:pt idx="1033">
                  <c:v>44790</c:v>
                </c:pt>
                <c:pt idx="1034">
                  <c:v>44791</c:v>
                </c:pt>
                <c:pt idx="1035">
                  <c:v>44792</c:v>
                </c:pt>
                <c:pt idx="1036">
                  <c:v>44795</c:v>
                </c:pt>
                <c:pt idx="1037">
                  <c:v>44796</c:v>
                </c:pt>
                <c:pt idx="1038">
                  <c:v>44797</c:v>
                </c:pt>
                <c:pt idx="1039">
                  <c:v>44798</c:v>
                </c:pt>
                <c:pt idx="1040">
                  <c:v>44799</c:v>
                </c:pt>
                <c:pt idx="1041">
                  <c:v>44802</c:v>
                </c:pt>
                <c:pt idx="1042">
                  <c:v>44803</c:v>
                </c:pt>
                <c:pt idx="1043">
                  <c:v>44804</c:v>
                </c:pt>
                <c:pt idx="1044">
                  <c:v>44805</c:v>
                </c:pt>
                <c:pt idx="1045">
                  <c:v>44806</c:v>
                </c:pt>
                <c:pt idx="1046">
                  <c:v>44809</c:v>
                </c:pt>
                <c:pt idx="1047">
                  <c:v>44810</c:v>
                </c:pt>
                <c:pt idx="1048">
                  <c:v>44811</c:v>
                </c:pt>
                <c:pt idx="1049">
                  <c:v>44812</c:v>
                </c:pt>
                <c:pt idx="1050">
                  <c:v>44813</c:v>
                </c:pt>
                <c:pt idx="1051">
                  <c:v>44816</c:v>
                </c:pt>
                <c:pt idx="1052">
                  <c:v>44817</c:v>
                </c:pt>
                <c:pt idx="1053">
                  <c:v>44818</c:v>
                </c:pt>
                <c:pt idx="1054">
                  <c:v>44819</c:v>
                </c:pt>
                <c:pt idx="1055">
                  <c:v>44820</c:v>
                </c:pt>
                <c:pt idx="1056">
                  <c:v>44823</c:v>
                </c:pt>
                <c:pt idx="1057">
                  <c:v>44824</c:v>
                </c:pt>
                <c:pt idx="1058">
                  <c:v>44825</c:v>
                </c:pt>
                <c:pt idx="1059">
                  <c:v>44826</c:v>
                </c:pt>
                <c:pt idx="1060">
                  <c:v>44827</c:v>
                </c:pt>
                <c:pt idx="1061">
                  <c:v>44830</c:v>
                </c:pt>
                <c:pt idx="1062">
                  <c:v>44831</c:v>
                </c:pt>
                <c:pt idx="1063">
                  <c:v>44832</c:v>
                </c:pt>
                <c:pt idx="1064">
                  <c:v>44833</c:v>
                </c:pt>
                <c:pt idx="1065">
                  <c:v>44834</c:v>
                </c:pt>
                <c:pt idx="1066">
                  <c:v>44837</c:v>
                </c:pt>
                <c:pt idx="1067">
                  <c:v>44838</c:v>
                </c:pt>
                <c:pt idx="1068">
                  <c:v>44839</c:v>
                </c:pt>
                <c:pt idx="1069">
                  <c:v>44840</c:v>
                </c:pt>
                <c:pt idx="1070">
                  <c:v>44841</c:v>
                </c:pt>
                <c:pt idx="1071">
                  <c:v>44844</c:v>
                </c:pt>
                <c:pt idx="1072">
                  <c:v>44845</c:v>
                </c:pt>
                <c:pt idx="1073">
                  <c:v>44846</c:v>
                </c:pt>
                <c:pt idx="1074">
                  <c:v>44847</c:v>
                </c:pt>
                <c:pt idx="1075">
                  <c:v>44848</c:v>
                </c:pt>
                <c:pt idx="1076">
                  <c:v>44851</c:v>
                </c:pt>
                <c:pt idx="1077">
                  <c:v>44852</c:v>
                </c:pt>
                <c:pt idx="1078">
                  <c:v>44853</c:v>
                </c:pt>
                <c:pt idx="1079">
                  <c:v>44854</c:v>
                </c:pt>
                <c:pt idx="1080">
                  <c:v>44855</c:v>
                </c:pt>
                <c:pt idx="1081">
                  <c:v>44858</c:v>
                </c:pt>
                <c:pt idx="1082">
                  <c:v>44859</c:v>
                </c:pt>
                <c:pt idx="1083">
                  <c:v>44860</c:v>
                </c:pt>
                <c:pt idx="1084">
                  <c:v>44861</c:v>
                </c:pt>
                <c:pt idx="1085">
                  <c:v>44862</c:v>
                </c:pt>
                <c:pt idx="1086">
                  <c:v>44865</c:v>
                </c:pt>
                <c:pt idx="1087">
                  <c:v>44866</c:v>
                </c:pt>
                <c:pt idx="1088">
                  <c:v>44867</c:v>
                </c:pt>
                <c:pt idx="1089">
                  <c:v>44868</c:v>
                </c:pt>
                <c:pt idx="1090">
                  <c:v>44869</c:v>
                </c:pt>
                <c:pt idx="1091">
                  <c:v>44872</c:v>
                </c:pt>
                <c:pt idx="1092">
                  <c:v>44873</c:v>
                </c:pt>
                <c:pt idx="1093">
                  <c:v>44874</c:v>
                </c:pt>
                <c:pt idx="1094">
                  <c:v>44875</c:v>
                </c:pt>
                <c:pt idx="1095">
                  <c:v>44876</c:v>
                </c:pt>
                <c:pt idx="1096">
                  <c:v>44879</c:v>
                </c:pt>
                <c:pt idx="1097">
                  <c:v>44880</c:v>
                </c:pt>
                <c:pt idx="1098">
                  <c:v>44881</c:v>
                </c:pt>
                <c:pt idx="1099">
                  <c:v>44882</c:v>
                </c:pt>
                <c:pt idx="1100">
                  <c:v>44883</c:v>
                </c:pt>
                <c:pt idx="1101">
                  <c:v>44886</c:v>
                </c:pt>
                <c:pt idx="1102">
                  <c:v>44887</c:v>
                </c:pt>
                <c:pt idx="1103">
                  <c:v>44888</c:v>
                </c:pt>
                <c:pt idx="1104">
                  <c:v>44889</c:v>
                </c:pt>
                <c:pt idx="1105">
                  <c:v>44890</c:v>
                </c:pt>
                <c:pt idx="1106">
                  <c:v>44893</c:v>
                </c:pt>
                <c:pt idx="1107">
                  <c:v>44894</c:v>
                </c:pt>
                <c:pt idx="1108">
                  <c:v>44895</c:v>
                </c:pt>
                <c:pt idx="1109">
                  <c:v>44896</c:v>
                </c:pt>
                <c:pt idx="1110">
                  <c:v>44897</c:v>
                </c:pt>
                <c:pt idx="1111">
                  <c:v>44900</c:v>
                </c:pt>
                <c:pt idx="1112">
                  <c:v>44901</c:v>
                </c:pt>
                <c:pt idx="1113">
                  <c:v>44902</c:v>
                </c:pt>
                <c:pt idx="1114">
                  <c:v>44903</c:v>
                </c:pt>
                <c:pt idx="1115">
                  <c:v>44904</c:v>
                </c:pt>
                <c:pt idx="1116">
                  <c:v>44907</c:v>
                </c:pt>
                <c:pt idx="1117">
                  <c:v>44908</c:v>
                </c:pt>
                <c:pt idx="1118">
                  <c:v>44909</c:v>
                </c:pt>
                <c:pt idx="1119">
                  <c:v>44910</c:v>
                </c:pt>
                <c:pt idx="1120">
                  <c:v>44911</c:v>
                </c:pt>
                <c:pt idx="1121">
                  <c:v>44914</c:v>
                </c:pt>
                <c:pt idx="1122">
                  <c:v>44915</c:v>
                </c:pt>
                <c:pt idx="1123">
                  <c:v>44916</c:v>
                </c:pt>
                <c:pt idx="1124">
                  <c:v>44917</c:v>
                </c:pt>
                <c:pt idx="1125">
                  <c:v>44918</c:v>
                </c:pt>
                <c:pt idx="1126">
                  <c:v>44921</c:v>
                </c:pt>
                <c:pt idx="1127">
                  <c:v>44922</c:v>
                </c:pt>
                <c:pt idx="1128">
                  <c:v>44923</c:v>
                </c:pt>
                <c:pt idx="1129">
                  <c:v>44924</c:v>
                </c:pt>
                <c:pt idx="1130">
                  <c:v>44925</c:v>
                </c:pt>
                <c:pt idx="1131">
                  <c:v>44928</c:v>
                </c:pt>
                <c:pt idx="1132">
                  <c:v>44929</c:v>
                </c:pt>
                <c:pt idx="1133">
                  <c:v>44930</c:v>
                </c:pt>
                <c:pt idx="1134">
                  <c:v>44931</c:v>
                </c:pt>
                <c:pt idx="1135">
                  <c:v>44932</c:v>
                </c:pt>
                <c:pt idx="1136">
                  <c:v>44935</c:v>
                </c:pt>
                <c:pt idx="1137">
                  <c:v>44936</c:v>
                </c:pt>
                <c:pt idx="1138">
                  <c:v>44937</c:v>
                </c:pt>
                <c:pt idx="1139">
                  <c:v>44938</c:v>
                </c:pt>
                <c:pt idx="1140">
                  <c:v>44939</c:v>
                </c:pt>
                <c:pt idx="1141">
                  <c:v>44942</c:v>
                </c:pt>
                <c:pt idx="1142">
                  <c:v>44943</c:v>
                </c:pt>
                <c:pt idx="1143">
                  <c:v>44944</c:v>
                </c:pt>
                <c:pt idx="1144">
                  <c:v>44945</c:v>
                </c:pt>
                <c:pt idx="1145">
                  <c:v>44946</c:v>
                </c:pt>
                <c:pt idx="1146">
                  <c:v>44949</c:v>
                </c:pt>
                <c:pt idx="1147">
                  <c:v>44950</c:v>
                </c:pt>
                <c:pt idx="1148">
                  <c:v>44951</c:v>
                </c:pt>
                <c:pt idx="1149">
                  <c:v>44952</c:v>
                </c:pt>
                <c:pt idx="1150">
                  <c:v>44953</c:v>
                </c:pt>
                <c:pt idx="1151">
                  <c:v>44956</c:v>
                </c:pt>
                <c:pt idx="1152">
                  <c:v>44957</c:v>
                </c:pt>
                <c:pt idx="1153">
                  <c:v>44958</c:v>
                </c:pt>
                <c:pt idx="1154">
                  <c:v>44959</c:v>
                </c:pt>
                <c:pt idx="1155">
                  <c:v>44960</c:v>
                </c:pt>
                <c:pt idx="1156">
                  <c:v>44963</c:v>
                </c:pt>
                <c:pt idx="1157">
                  <c:v>44964</c:v>
                </c:pt>
                <c:pt idx="1158">
                  <c:v>44965</c:v>
                </c:pt>
                <c:pt idx="1159">
                  <c:v>44966</c:v>
                </c:pt>
                <c:pt idx="1160">
                  <c:v>44967</c:v>
                </c:pt>
                <c:pt idx="1161">
                  <c:v>44970</c:v>
                </c:pt>
                <c:pt idx="1162">
                  <c:v>44971</c:v>
                </c:pt>
                <c:pt idx="1163">
                  <c:v>44972</c:v>
                </c:pt>
                <c:pt idx="1164">
                  <c:v>44973</c:v>
                </c:pt>
                <c:pt idx="1165">
                  <c:v>44974</c:v>
                </c:pt>
                <c:pt idx="1166">
                  <c:v>44977</c:v>
                </c:pt>
                <c:pt idx="1167">
                  <c:v>44978</c:v>
                </c:pt>
                <c:pt idx="1168">
                  <c:v>44979</c:v>
                </c:pt>
                <c:pt idx="1169">
                  <c:v>44980</c:v>
                </c:pt>
                <c:pt idx="1170">
                  <c:v>44981</c:v>
                </c:pt>
                <c:pt idx="1171">
                  <c:v>44984</c:v>
                </c:pt>
                <c:pt idx="1172">
                  <c:v>44985</c:v>
                </c:pt>
                <c:pt idx="1173">
                  <c:v>44986</c:v>
                </c:pt>
                <c:pt idx="1174">
                  <c:v>44987</c:v>
                </c:pt>
                <c:pt idx="1175">
                  <c:v>44988</c:v>
                </c:pt>
                <c:pt idx="1176">
                  <c:v>44991</c:v>
                </c:pt>
                <c:pt idx="1177">
                  <c:v>44992</c:v>
                </c:pt>
                <c:pt idx="1178">
                  <c:v>44993</c:v>
                </c:pt>
                <c:pt idx="1179">
                  <c:v>44994</c:v>
                </c:pt>
                <c:pt idx="1180">
                  <c:v>44995</c:v>
                </c:pt>
                <c:pt idx="1181">
                  <c:v>44998</c:v>
                </c:pt>
                <c:pt idx="1182">
                  <c:v>44999</c:v>
                </c:pt>
                <c:pt idx="1183">
                  <c:v>45000</c:v>
                </c:pt>
                <c:pt idx="1184">
                  <c:v>45001</c:v>
                </c:pt>
                <c:pt idx="1185">
                  <c:v>45002</c:v>
                </c:pt>
                <c:pt idx="1186">
                  <c:v>45005</c:v>
                </c:pt>
                <c:pt idx="1187">
                  <c:v>45006</c:v>
                </c:pt>
                <c:pt idx="1188">
                  <c:v>45007</c:v>
                </c:pt>
                <c:pt idx="1189">
                  <c:v>45008</c:v>
                </c:pt>
                <c:pt idx="1190">
                  <c:v>45009</c:v>
                </c:pt>
                <c:pt idx="1191">
                  <c:v>45012</c:v>
                </c:pt>
                <c:pt idx="1192">
                  <c:v>45013</c:v>
                </c:pt>
                <c:pt idx="1193">
                  <c:v>45014</c:v>
                </c:pt>
                <c:pt idx="1194">
                  <c:v>45015</c:v>
                </c:pt>
                <c:pt idx="1195">
                  <c:v>45016</c:v>
                </c:pt>
                <c:pt idx="1196">
                  <c:v>45019</c:v>
                </c:pt>
                <c:pt idx="1197">
                  <c:v>45020</c:v>
                </c:pt>
                <c:pt idx="1198">
                  <c:v>45021</c:v>
                </c:pt>
                <c:pt idx="1199">
                  <c:v>45022</c:v>
                </c:pt>
                <c:pt idx="1200">
                  <c:v>45023</c:v>
                </c:pt>
                <c:pt idx="1201">
                  <c:v>45026</c:v>
                </c:pt>
                <c:pt idx="1202">
                  <c:v>45027</c:v>
                </c:pt>
                <c:pt idx="1203">
                  <c:v>45028</c:v>
                </c:pt>
                <c:pt idx="1204">
                  <c:v>45029</c:v>
                </c:pt>
                <c:pt idx="1205">
                  <c:v>45030</c:v>
                </c:pt>
                <c:pt idx="1206">
                  <c:v>45033</c:v>
                </c:pt>
                <c:pt idx="1207">
                  <c:v>45034</c:v>
                </c:pt>
                <c:pt idx="1208">
                  <c:v>45035</c:v>
                </c:pt>
                <c:pt idx="1209">
                  <c:v>45036</c:v>
                </c:pt>
                <c:pt idx="1210">
                  <c:v>45037</c:v>
                </c:pt>
                <c:pt idx="1211">
                  <c:v>45040</c:v>
                </c:pt>
                <c:pt idx="1212">
                  <c:v>45041</c:v>
                </c:pt>
                <c:pt idx="1213">
                  <c:v>45042</c:v>
                </c:pt>
                <c:pt idx="1214">
                  <c:v>45043</c:v>
                </c:pt>
                <c:pt idx="1215">
                  <c:v>45044</c:v>
                </c:pt>
                <c:pt idx="1216">
                  <c:v>45047</c:v>
                </c:pt>
                <c:pt idx="1217">
                  <c:v>45048</c:v>
                </c:pt>
                <c:pt idx="1218">
                  <c:v>45049</c:v>
                </c:pt>
                <c:pt idx="1219">
                  <c:v>45050</c:v>
                </c:pt>
                <c:pt idx="1220">
                  <c:v>45051</c:v>
                </c:pt>
                <c:pt idx="1221">
                  <c:v>45054</c:v>
                </c:pt>
                <c:pt idx="1222">
                  <c:v>45055</c:v>
                </c:pt>
                <c:pt idx="1223">
                  <c:v>45056</c:v>
                </c:pt>
                <c:pt idx="1224">
                  <c:v>45057</c:v>
                </c:pt>
                <c:pt idx="1225">
                  <c:v>45058</c:v>
                </c:pt>
                <c:pt idx="1226">
                  <c:v>45061</c:v>
                </c:pt>
                <c:pt idx="1227">
                  <c:v>45062</c:v>
                </c:pt>
                <c:pt idx="1228">
                  <c:v>45063</c:v>
                </c:pt>
                <c:pt idx="1229">
                  <c:v>45064</c:v>
                </c:pt>
                <c:pt idx="1230">
                  <c:v>45065</c:v>
                </c:pt>
                <c:pt idx="1231">
                  <c:v>45068</c:v>
                </c:pt>
                <c:pt idx="1232">
                  <c:v>45069</c:v>
                </c:pt>
                <c:pt idx="1233">
                  <c:v>45070</c:v>
                </c:pt>
                <c:pt idx="1234">
                  <c:v>45071</c:v>
                </c:pt>
                <c:pt idx="1235">
                  <c:v>45072</c:v>
                </c:pt>
                <c:pt idx="1236">
                  <c:v>45075</c:v>
                </c:pt>
                <c:pt idx="1237">
                  <c:v>45076</c:v>
                </c:pt>
                <c:pt idx="1238">
                  <c:v>45077</c:v>
                </c:pt>
                <c:pt idx="1239">
                  <c:v>45078</c:v>
                </c:pt>
                <c:pt idx="1240">
                  <c:v>45079</c:v>
                </c:pt>
                <c:pt idx="1241">
                  <c:v>45082</c:v>
                </c:pt>
                <c:pt idx="1242">
                  <c:v>45083</c:v>
                </c:pt>
                <c:pt idx="1243">
                  <c:v>45084</c:v>
                </c:pt>
                <c:pt idx="1244">
                  <c:v>45085</c:v>
                </c:pt>
                <c:pt idx="1245">
                  <c:v>45086</c:v>
                </c:pt>
                <c:pt idx="1246">
                  <c:v>45089</c:v>
                </c:pt>
                <c:pt idx="1247">
                  <c:v>45090</c:v>
                </c:pt>
                <c:pt idx="1248">
                  <c:v>45091</c:v>
                </c:pt>
                <c:pt idx="1249">
                  <c:v>45092</c:v>
                </c:pt>
                <c:pt idx="1250">
                  <c:v>45093</c:v>
                </c:pt>
                <c:pt idx="1251">
                  <c:v>45096</c:v>
                </c:pt>
                <c:pt idx="1252">
                  <c:v>45097</c:v>
                </c:pt>
                <c:pt idx="1253">
                  <c:v>45098</c:v>
                </c:pt>
                <c:pt idx="1254">
                  <c:v>45099</c:v>
                </c:pt>
                <c:pt idx="1255">
                  <c:v>45100</c:v>
                </c:pt>
                <c:pt idx="1256">
                  <c:v>45103</c:v>
                </c:pt>
                <c:pt idx="1257">
                  <c:v>45104</c:v>
                </c:pt>
                <c:pt idx="1258">
                  <c:v>45105</c:v>
                </c:pt>
                <c:pt idx="1259">
                  <c:v>45106</c:v>
                </c:pt>
                <c:pt idx="1260">
                  <c:v>45107</c:v>
                </c:pt>
                <c:pt idx="1261">
                  <c:v>45110</c:v>
                </c:pt>
                <c:pt idx="1262">
                  <c:v>45111</c:v>
                </c:pt>
                <c:pt idx="1263">
                  <c:v>45112</c:v>
                </c:pt>
                <c:pt idx="1264">
                  <c:v>45113</c:v>
                </c:pt>
                <c:pt idx="1265">
                  <c:v>45114</c:v>
                </c:pt>
                <c:pt idx="1266">
                  <c:v>45117</c:v>
                </c:pt>
                <c:pt idx="1267">
                  <c:v>45118</c:v>
                </c:pt>
                <c:pt idx="1268">
                  <c:v>45119</c:v>
                </c:pt>
                <c:pt idx="1269">
                  <c:v>45120</c:v>
                </c:pt>
                <c:pt idx="1270">
                  <c:v>45121</c:v>
                </c:pt>
                <c:pt idx="1271">
                  <c:v>45124</c:v>
                </c:pt>
                <c:pt idx="1272">
                  <c:v>45125</c:v>
                </c:pt>
                <c:pt idx="1273">
                  <c:v>45126</c:v>
                </c:pt>
                <c:pt idx="1274">
                  <c:v>45127</c:v>
                </c:pt>
                <c:pt idx="1275">
                  <c:v>45128</c:v>
                </c:pt>
                <c:pt idx="1276">
                  <c:v>45131</c:v>
                </c:pt>
                <c:pt idx="1277">
                  <c:v>45132</c:v>
                </c:pt>
                <c:pt idx="1278">
                  <c:v>45133</c:v>
                </c:pt>
                <c:pt idx="1279">
                  <c:v>45134</c:v>
                </c:pt>
                <c:pt idx="1280">
                  <c:v>45135</c:v>
                </c:pt>
                <c:pt idx="1281">
                  <c:v>45138</c:v>
                </c:pt>
                <c:pt idx="1282">
                  <c:v>45139</c:v>
                </c:pt>
                <c:pt idx="1283">
                  <c:v>45140</c:v>
                </c:pt>
                <c:pt idx="1284">
                  <c:v>45141</c:v>
                </c:pt>
                <c:pt idx="1285">
                  <c:v>45142</c:v>
                </c:pt>
                <c:pt idx="1286">
                  <c:v>45145</c:v>
                </c:pt>
                <c:pt idx="1287">
                  <c:v>45146</c:v>
                </c:pt>
                <c:pt idx="1288">
                  <c:v>45147</c:v>
                </c:pt>
                <c:pt idx="1289">
                  <c:v>45148</c:v>
                </c:pt>
                <c:pt idx="1290">
                  <c:v>45149</c:v>
                </c:pt>
                <c:pt idx="1291">
                  <c:v>45152</c:v>
                </c:pt>
                <c:pt idx="1292">
                  <c:v>45153</c:v>
                </c:pt>
                <c:pt idx="1293">
                  <c:v>45154</c:v>
                </c:pt>
                <c:pt idx="1294">
                  <c:v>45155</c:v>
                </c:pt>
                <c:pt idx="1295">
                  <c:v>45156</c:v>
                </c:pt>
                <c:pt idx="1296">
                  <c:v>45159</c:v>
                </c:pt>
              </c:numCache>
            </c:numRef>
          </c:cat>
          <c:val>
            <c:numRef>
              <c:f>'Performance Graph'!$E$8:$E$1304</c:f>
              <c:numCache>
                <c:formatCode>General</c:formatCode>
                <c:ptCount val="1297"/>
                <c:pt idx="0">
                  <c:v>560.37</c:v>
                </c:pt>
                <c:pt idx="1">
                  <c:v>559.29999999999995</c:v>
                </c:pt>
                <c:pt idx="2">
                  <c:v>553.15</c:v>
                </c:pt>
                <c:pt idx="3">
                  <c:v>556.82000000000005</c:v>
                </c:pt>
                <c:pt idx="4">
                  <c:v>561.30999999999995</c:v>
                </c:pt>
                <c:pt idx="5">
                  <c:v>560.24</c:v>
                </c:pt>
                <c:pt idx="6">
                  <c:v>560.29999999999995</c:v>
                </c:pt>
                <c:pt idx="7">
                  <c:v>555.04</c:v>
                </c:pt>
                <c:pt idx="8">
                  <c:v>556.92999999999995</c:v>
                </c:pt>
                <c:pt idx="9">
                  <c:v>556.16</c:v>
                </c:pt>
                <c:pt idx="10">
                  <c:v>551.42999999999995</c:v>
                </c:pt>
                <c:pt idx="11">
                  <c:v>547.04</c:v>
                </c:pt>
                <c:pt idx="12">
                  <c:v>547.5</c:v>
                </c:pt>
                <c:pt idx="13">
                  <c:v>543.66999999999996</c:v>
                </c:pt>
                <c:pt idx="14">
                  <c:v>542.54999999999995</c:v>
                </c:pt>
                <c:pt idx="15">
                  <c:v>543.92999999999995</c:v>
                </c:pt>
                <c:pt idx="16">
                  <c:v>544.80999999999995</c:v>
                </c:pt>
                <c:pt idx="17">
                  <c:v>542.48</c:v>
                </c:pt>
                <c:pt idx="18">
                  <c:v>543.59</c:v>
                </c:pt>
                <c:pt idx="19">
                  <c:v>542.92999999999995</c:v>
                </c:pt>
                <c:pt idx="20">
                  <c:v>549.58000000000004</c:v>
                </c:pt>
                <c:pt idx="21">
                  <c:v>551.46</c:v>
                </c:pt>
                <c:pt idx="22">
                  <c:v>555.15</c:v>
                </c:pt>
                <c:pt idx="23">
                  <c:v>560.38</c:v>
                </c:pt>
                <c:pt idx="24">
                  <c:v>555.14</c:v>
                </c:pt>
                <c:pt idx="25">
                  <c:v>552.39</c:v>
                </c:pt>
                <c:pt idx="26">
                  <c:v>550.53</c:v>
                </c:pt>
                <c:pt idx="27">
                  <c:v>545.96</c:v>
                </c:pt>
                <c:pt idx="28">
                  <c:v>546.51</c:v>
                </c:pt>
                <c:pt idx="29">
                  <c:v>543.85</c:v>
                </c:pt>
                <c:pt idx="30">
                  <c:v>549.46</c:v>
                </c:pt>
                <c:pt idx="31">
                  <c:v>549.17999999999995</c:v>
                </c:pt>
                <c:pt idx="32">
                  <c:v>540.34</c:v>
                </c:pt>
                <c:pt idx="33">
                  <c:v>538.54</c:v>
                </c:pt>
                <c:pt idx="34">
                  <c:v>539.92999999999995</c:v>
                </c:pt>
                <c:pt idx="35">
                  <c:v>541.20000000000005</c:v>
                </c:pt>
                <c:pt idx="36">
                  <c:v>530.16999999999996</c:v>
                </c:pt>
                <c:pt idx="37">
                  <c:v>519.72</c:v>
                </c:pt>
                <c:pt idx="38">
                  <c:v>527.88</c:v>
                </c:pt>
                <c:pt idx="39">
                  <c:v>527.38</c:v>
                </c:pt>
                <c:pt idx="40">
                  <c:v>536.39</c:v>
                </c:pt>
                <c:pt idx="41">
                  <c:v>535.89</c:v>
                </c:pt>
                <c:pt idx="42">
                  <c:v>531.52</c:v>
                </c:pt>
                <c:pt idx="43">
                  <c:v>531.62</c:v>
                </c:pt>
                <c:pt idx="44">
                  <c:v>532.47</c:v>
                </c:pt>
                <c:pt idx="45">
                  <c:v>519.96</c:v>
                </c:pt>
                <c:pt idx="46">
                  <c:v>513.26</c:v>
                </c:pt>
                <c:pt idx="47">
                  <c:v>518.38</c:v>
                </c:pt>
                <c:pt idx="48">
                  <c:v>513.79999999999995</c:v>
                </c:pt>
                <c:pt idx="49">
                  <c:v>507.37</c:v>
                </c:pt>
                <c:pt idx="50">
                  <c:v>511.17</c:v>
                </c:pt>
                <c:pt idx="51">
                  <c:v>516.86</c:v>
                </c:pt>
                <c:pt idx="52">
                  <c:v>531.05999999999995</c:v>
                </c:pt>
                <c:pt idx="53">
                  <c:v>533.27</c:v>
                </c:pt>
                <c:pt idx="54">
                  <c:v>539.16999999999996</c:v>
                </c:pt>
                <c:pt idx="55">
                  <c:v>545.21</c:v>
                </c:pt>
                <c:pt idx="56">
                  <c:v>561.14</c:v>
                </c:pt>
                <c:pt idx="57">
                  <c:v>558.71</c:v>
                </c:pt>
                <c:pt idx="58">
                  <c:v>553.67999999999995</c:v>
                </c:pt>
                <c:pt idx="59">
                  <c:v>553.55999999999995</c:v>
                </c:pt>
                <c:pt idx="60">
                  <c:v>550.59</c:v>
                </c:pt>
                <c:pt idx="61">
                  <c:v>549.73</c:v>
                </c:pt>
                <c:pt idx="62">
                  <c:v>552.16999999999996</c:v>
                </c:pt>
                <c:pt idx="63">
                  <c:v>557.16999999999996</c:v>
                </c:pt>
                <c:pt idx="64">
                  <c:v>554.24</c:v>
                </c:pt>
                <c:pt idx="65">
                  <c:v>544.77</c:v>
                </c:pt>
                <c:pt idx="66">
                  <c:v>552.12</c:v>
                </c:pt>
                <c:pt idx="67">
                  <c:v>550.55999999999995</c:v>
                </c:pt>
                <c:pt idx="68">
                  <c:v>550.91999999999996</c:v>
                </c:pt>
                <c:pt idx="69">
                  <c:v>555.69000000000005</c:v>
                </c:pt>
                <c:pt idx="70">
                  <c:v>562.04999999999995</c:v>
                </c:pt>
                <c:pt idx="71">
                  <c:v>572.17999999999995</c:v>
                </c:pt>
                <c:pt idx="72">
                  <c:v>573.70000000000005</c:v>
                </c:pt>
                <c:pt idx="73">
                  <c:v>569.94000000000005</c:v>
                </c:pt>
                <c:pt idx="74">
                  <c:v>577.58000000000004</c:v>
                </c:pt>
                <c:pt idx="75">
                  <c:v>572.25</c:v>
                </c:pt>
                <c:pt idx="76">
                  <c:v>567.95000000000005</c:v>
                </c:pt>
                <c:pt idx="77">
                  <c:v>563.66</c:v>
                </c:pt>
                <c:pt idx="78">
                  <c:v>558.04999999999995</c:v>
                </c:pt>
                <c:pt idx="79">
                  <c:v>552.85</c:v>
                </c:pt>
                <c:pt idx="80">
                  <c:v>554.33000000000004</c:v>
                </c:pt>
                <c:pt idx="81">
                  <c:v>560.39</c:v>
                </c:pt>
                <c:pt idx="82">
                  <c:v>564.47</c:v>
                </c:pt>
                <c:pt idx="83">
                  <c:v>558.53</c:v>
                </c:pt>
                <c:pt idx="84">
                  <c:v>548.16</c:v>
                </c:pt>
                <c:pt idx="85">
                  <c:v>542.39</c:v>
                </c:pt>
                <c:pt idx="86">
                  <c:v>539.21</c:v>
                </c:pt>
                <c:pt idx="87">
                  <c:v>532.66</c:v>
                </c:pt>
                <c:pt idx="88">
                  <c:v>523.89</c:v>
                </c:pt>
                <c:pt idx="89">
                  <c:v>517.84</c:v>
                </c:pt>
                <c:pt idx="90">
                  <c:v>529.98</c:v>
                </c:pt>
                <c:pt idx="91">
                  <c:v>527.76</c:v>
                </c:pt>
                <c:pt idx="92">
                  <c:v>529.17999999999995</c:v>
                </c:pt>
                <c:pt idx="93">
                  <c:v>531.48</c:v>
                </c:pt>
                <c:pt idx="94">
                  <c:v>534.97</c:v>
                </c:pt>
                <c:pt idx="95">
                  <c:v>528.82000000000005</c:v>
                </c:pt>
                <c:pt idx="96">
                  <c:v>543.80999999999995</c:v>
                </c:pt>
                <c:pt idx="97">
                  <c:v>547</c:v>
                </c:pt>
                <c:pt idx="98">
                  <c:v>553.41</c:v>
                </c:pt>
                <c:pt idx="99">
                  <c:v>560.29</c:v>
                </c:pt>
                <c:pt idx="100">
                  <c:v>567.66</c:v>
                </c:pt>
                <c:pt idx="101">
                  <c:v>570.49</c:v>
                </c:pt>
                <c:pt idx="102">
                  <c:v>565.83000000000004</c:v>
                </c:pt>
                <c:pt idx="103">
                  <c:v>566.89</c:v>
                </c:pt>
                <c:pt idx="104">
                  <c:v>568.97</c:v>
                </c:pt>
                <c:pt idx="105">
                  <c:v>573.34</c:v>
                </c:pt>
                <c:pt idx="106">
                  <c:v>574.82000000000005</c:v>
                </c:pt>
                <c:pt idx="107">
                  <c:v>577.01</c:v>
                </c:pt>
                <c:pt idx="108">
                  <c:v>572.30999999999995</c:v>
                </c:pt>
                <c:pt idx="109">
                  <c:v>575.09</c:v>
                </c:pt>
                <c:pt idx="110">
                  <c:v>587.23</c:v>
                </c:pt>
                <c:pt idx="111">
                  <c:v>590.12</c:v>
                </c:pt>
                <c:pt idx="112">
                  <c:v>589.53</c:v>
                </c:pt>
                <c:pt idx="113">
                  <c:v>593.82000000000005</c:v>
                </c:pt>
                <c:pt idx="114">
                  <c:v>598.33000000000004</c:v>
                </c:pt>
                <c:pt idx="115">
                  <c:v>608.70000000000005</c:v>
                </c:pt>
                <c:pt idx="116">
                  <c:v>610.75</c:v>
                </c:pt>
                <c:pt idx="117">
                  <c:v>609.4</c:v>
                </c:pt>
                <c:pt idx="118">
                  <c:v>611.96</c:v>
                </c:pt>
                <c:pt idx="119">
                  <c:v>609.45000000000005</c:v>
                </c:pt>
                <c:pt idx="120">
                  <c:v>606.47</c:v>
                </c:pt>
                <c:pt idx="121">
                  <c:v>603.63</c:v>
                </c:pt>
                <c:pt idx="122">
                  <c:v>607.25</c:v>
                </c:pt>
                <c:pt idx="123">
                  <c:v>612.19000000000005</c:v>
                </c:pt>
                <c:pt idx="124">
                  <c:v>614.65</c:v>
                </c:pt>
                <c:pt idx="125">
                  <c:v>620.30999999999995</c:v>
                </c:pt>
                <c:pt idx="126">
                  <c:v>615.46</c:v>
                </c:pt>
                <c:pt idx="127">
                  <c:v>618.29</c:v>
                </c:pt>
                <c:pt idx="128">
                  <c:v>621.28</c:v>
                </c:pt>
                <c:pt idx="129">
                  <c:v>619.62</c:v>
                </c:pt>
                <c:pt idx="130">
                  <c:v>623.04999999999995</c:v>
                </c:pt>
                <c:pt idx="131">
                  <c:v>629.94000000000005</c:v>
                </c:pt>
                <c:pt idx="132">
                  <c:v>630.02</c:v>
                </c:pt>
                <c:pt idx="133">
                  <c:v>629.94000000000005</c:v>
                </c:pt>
                <c:pt idx="134">
                  <c:v>624.88</c:v>
                </c:pt>
                <c:pt idx="135">
                  <c:v>625.48</c:v>
                </c:pt>
                <c:pt idx="136">
                  <c:v>623.51</c:v>
                </c:pt>
                <c:pt idx="137">
                  <c:v>627.82000000000005</c:v>
                </c:pt>
                <c:pt idx="138">
                  <c:v>628.27</c:v>
                </c:pt>
                <c:pt idx="139">
                  <c:v>620.37</c:v>
                </c:pt>
                <c:pt idx="140">
                  <c:v>616.13</c:v>
                </c:pt>
                <c:pt idx="141">
                  <c:v>610.73</c:v>
                </c:pt>
                <c:pt idx="142">
                  <c:v>622.9</c:v>
                </c:pt>
                <c:pt idx="143">
                  <c:v>630.05999999999995</c:v>
                </c:pt>
                <c:pt idx="144">
                  <c:v>633.63</c:v>
                </c:pt>
                <c:pt idx="145">
                  <c:v>632.15</c:v>
                </c:pt>
                <c:pt idx="146">
                  <c:v>630.04</c:v>
                </c:pt>
                <c:pt idx="147">
                  <c:v>637.66</c:v>
                </c:pt>
                <c:pt idx="148">
                  <c:v>637.29</c:v>
                </c:pt>
                <c:pt idx="149">
                  <c:v>635.03</c:v>
                </c:pt>
                <c:pt idx="150">
                  <c:v>631.72</c:v>
                </c:pt>
                <c:pt idx="151">
                  <c:v>620.63</c:v>
                </c:pt>
                <c:pt idx="152">
                  <c:v>616.66999999999996</c:v>
                </c:pt>
                <c:pt idx="153">
                  <c:v>618.51</c:v>
                </c:pt>
                <c:pt idx="154">
                  <c:v>619.25</c:v>
                </c:pt>
                <c:pt idx="155">
                  <c:v>621.13</c:v>
                </c:pt>
                <c:pt idx="156">
                  <c:v>624.80999999999995</c:v>
                </c:pt>
                <c:pt idx="157">
                  <c:v>629.57000000000005</c:v>
                </c:pt>
                <c:pt idx="158">
                  <c:v>631.26</c:v>
                </c:pt>
                <c:pt idx="159">
                  <c:v>636.66</c:v>
                </c:pt>
                <c:pt idx="160">
                  <c:v>638.65</c:v>
                </c:pt>
                <c:pt idx="161">
                  <c:v>645.45000000000005</c:v>
                </c:pt>
                <c:pt idx="162">
                  <c:v>644.94000000000005</c:v>
                </c:pt>
                <c:pt idx="163">
                  <c:v>641.73</c:v>
                </c:pt>
                <c:pt idx="164">
                  <c:v>647.53</c:v>
                </c:pt>
                <c:pt idx="165">
                  <c:v>642.69000000000005</c:v>
                </c:pt>
                <c:pt idx="166">
                  <c:v>639.74</c:v>
                </c:pt>
                <c:pt idx="167">
                  <c:v>643.92999999999995</c:v>
                </c:pt>
                <c:pt idx="168">
                  <c:v>645.75</c:v>
                </c:pt>
                <c:pt idx="169">
                  <c:v>645.91999999999996</c:v>
                </c:pt>
                <c:pt idx="170">
                  <c:v>644.6</c:v>
                </c:pt>
                <c:pt idx="171">
                  <c:v>645.86</c:v>
                </c:pt>
                <c:pt idx="172">
                  <c:v>648.03</c:v>
                </c:pt>
                <c:pt idx="173">
                  <c:v>647.92999999999995</c:v>
                </c:pt>
                <c:pt idx="174">
                  <c:v>645.91999999999996</c:v>
                </c:pt>
                <c:pt idx="175">
                  <c:v>647.71</c:v>
                </c:pt>
                <c:pt idx="176">
                  <c:v>648.04999999999995</c:v>
                </c:pt>
                <c:pt idx="177">
                  <c:v>649.09</c:v>
                </c:pt>
                <c:pt idx="178">
                  <c:v>650.41</c:v>
                </c:pt>
                <c:pt idx="179">
                  <c:v>644.70000000000005</c:v>
                </c:pt>
                <c:pt idx="180">
                  <c:v>652.30999999999995</c:v>
                </c:pt>
                <c:pt idx="181">
                  <c:v>639.6</c:v>
                </c:pt>
                <c:pt idx="182">
                  <c:v>649.01</c:v>
                </c:pt>
                <c:pt idx="183">
                  <c:v>645.16999999999996</c:v>
                </c:pt>
                <c:pt idx="184">
                  <c:v>636.1</c:v>
                </c:pt>
                <c:pt idx="185">
                  <c:v>641.03</c:v>
                </c:pt>
                <c:pt idx="186">
                  <c:v>628.52</c:v>
                </c:pt>
                <c:pt idx="187">
                  <c:v>630.97</c:v>
                </c:pt>
                <c:pt idx="188">
                  <c:v>636.84</c:v>
                </c:pt>
                <c:pt idx="189">
                  <c:v>639.97</c:v>
                </c:pt>
                <c:pt idx="190">
                  <c:v>632.97</c:v>
                </c:pt>
                <c:pt idx="191">
                  <c:v>628.4</c:v>
                </c:pt>
                <c:pt idx="192">
                  <c:v>640.53</c:v>
                </c:pt>
                <c:pt idx="193">
                  <c:v>642.04999999999995</c:v>
                </c:pt>
                <c:pt idx="194">
                  <c:v>628.78</c:v>
                </c:pt>
                <c:pt idx="195">
                  <c:v>633.92999999999995</c:v>
                </c:pt>
                <c:pt idx="196">
                  <c:v>634.11</c:v>
                </c:pt>
                <c:pt idx="197">
                  <c:v>639.04</c:v>
                </c:pt>
                <c:pt idx="198">
                  <c:v>634.13</c:v>
                </c:pt>
                <c:pt idx="199">
                  <c:v>637.98</c:v>
                </c:pt>
                <c:pt idx="200">
                  <c:v>637.38</c:v>
                </c:pt>
                <c:pt idx="201">
                  <c:v>646.66</c:v>
                </c:pt>
                <c:pt idx="202">
                  <c:v>650.03</c:v>
                </c:pt>
                <c:pt idx="203">
                  <c:v>652.87</c:v>
                </c:pt>
                <c:pt idx="204">
                  <c:v>652.63</c:v>
                </c:pt>
                <c:pt idx="205">
                  <c:v>659.23</c:v>
                </c:pt>
                <c:pt idx="206">
                  <c:v>661.54</c:v>
                </c:pt>
                <c:pt idx="207">
                  <c:v>665.57</c:v>
                </c:pt>
                <c:pt idx="208">
                  <c:v>660.64</c:v>
                </c:pt>
                <c:pt idx="209">
                  <c:v>668.03</c:v>
                </c:pt>
                <c:pt idx="210">
                  <c:v>662.94</c:v>
                </c:pt>
                <c:pt idx="211">
                  <c:v>660.66</c:v>
                </c:pt>
                <c:pt idx="212">
                  <c:v>668.28</c:v>
                </c:pt>
                <c:pt idx="213">
                  <c:v>672.81</c:v>
                </c:pt>
                <c:pt idx="214">
                  <c:v>681.7</c:v>
                </c:pt>
                <c:pt idx="215">
                  <c:v>678.78</c:v>
                </c:pt>
                <c:pt idx="216">
                  <c:v>680.45</c:v>
                </c:pt>
                <c:pt idx="217">
                  <c:v>674.51</c:v>
                </c:pt>
                <c:pt idx="218">
                  <c:v>673.12</c:v>
                </c:pt>
                <c:pt idx="219">
                  <c:v>677.57</c:v>
                </c:pt>
                <c:pt idx="220">
                  <c:v>680.9</c:v>
                </c:pt>
                <c:pt idx="221">
                  <c:v>681.81</c:v>
                </c:pt>
                <c:pt idx="222">
                  <c:v>689.03</c:v>
                </c:pt>
                <c:pt idx="223">
                  <c:v>692.5</c:v>
                </c:pt>
                <c:pt idx="224">
                  <c:v>692.14</c:v>
                </c:pt>
                <c:pt idx="225">
                  <c:v>693.12</c:v>
                </c:pt>
                <c:pt idx="226">
                  <c:v>691.9</c:v>
                </c:pt>
                <c:pt idx="227">
                  <c:v>691.37</c:v>
                </c:pt>
                <c:pt idx="228">
                  <c:v>693.35</c:v>
                </c:pt>
                <c:pt idx="229">
                  <c:v>692.67</c:v>
                </c:pt>
                <c:pt idx="230">
                  <c:v>690.92</c:v>
                </c:pt>
                <c:pt idx="231">
                  <c:v>687.94</c:v>
                </c:pt>
                <c:pt idx="232">
                  <c:v>691.26</c:v>
                </c:pt>
                <c:pt idx="233">
                  <c:v>690.91</c:v>
                </c:pt>
                <c:pt idx="234">
                  <c:v>693.12</c:v>
                </c:pt>
                <c:pt idx="235">
                  <c:v>692.54</c:v>
                </c:pt>
                <c:pt idx="236">
                  <c:v>692.21</c:v>
                </c:pt>
                <c:pt idx="237">
                  <c:v>687.85</c:v>
                </c:pt>
                <c:pt idx="238">
                  <c:v>689.52</c:v>
                </c:pt>
                <c:pt idx="239">
                  <c:v>687.08</c:v>
                </c:pt>
                <c:pt idx="240">
                  <c:v>686.96</c:v>
                </c:pt>
                <c:pt idx="241">
                  <c:v>687.69</c:v>
                </c:pt>
                <c:pt idx="242">
                  <c:v>682.09</c:v>
                </c:pt>
                <c:pt idx="243">
                  <c:v>686.23</c:v>
                </c:pt>
                <c:pt idx="244">
                  <c:v>692.93</c:v>
                </c:pt>
                <c:pt idx="245">
                  <c:v>688.26</c:v>
                </c:pt>
                <c:pt idx="246">
                  <c:v>668</c:v>
                </c:pt>
                <c:pt idx="247">
                  <c:v>672.33</c:v>
                </c:pt>
                <c:pt idx="248">
                  <c:v>688.06</c:v>
                </c:pt>
                <c:pt idx="249">
                  <c:v>703</c:v>
                </c:pt>
                <c:pt idx="250">
                  <c:v>700.33</c:v>
                </c:pt>
                <c:pt idx="251">
                  <c:v>699.44</c:v>
                </c:pt>
                <c:pt idx="252">
                  <c:v>700.29</c:v>
                </c:pt>
                <c:pt idx="253">
                  <c:v>685.71</c:v>
                </c:pt>
                <c:pt idx="254">
                  <c:v>679.37</c:v>
                </c:pt>
                <c:pt idx="255">
                  <c:v>689.76</c:v>
                </c:pt>
                <c:pt idx="256">
                  <c:v>697.91</c:v>
                </c:pt>
                <c:pt idx="257">
                  <c:v>698.16</c:v>
                </c:pt>
                <c:pt idx="258">
                  <c:v>708.58</c:v>
                </c:pt>
                <c:pt idx="259">
                  <c:v>700.36</c:v>
                </c:pt>
                <c:pt idx="260">
                  <c:v>690.64</c:v>
                </c:pt>
                <c:pt idx="261">
                  <c:v>692.47</c:v>
                </c:pt>
                <c:pt idx="262">
                  <c:v>692.86</c:v>
                </c:pt>
                <c:pt idx="263">
                  <c:v>694.37</c:v>
                </c:pt>
                <c:pt idx="264">
                  <c:v>693.32</c:v>
                </c:pt>
                <c:pt idx="265">
                  <c:v>698.08</c:v>
                </c:pt>
                <c:pt idx="266">
                  <c:v>705.75</c:v>
                </c:pt>
                <c:pt idx="267">
                  <c:v>697.94</c:v>
                </c:pt>
                <c:pt idx="268">
                  <c:v>709.55</c:v>
                </c:pt>
                <c:pt idx="269">
                  <c:v>709.49</c:v>
                </c:pt>
                <c:pt idx="270">
                  <c:v>706.92</c:v>
                </c:pt>
                <c:pt idx="271">
                  <c:v>699.92</c:v>
                </c:pt>
                <c:pt idx="272">
                  <c:v>697.8</c:v>
                </c:pt>
                <c:pt idx="273">
                  <c:v>705.55</c:v>
                </c:pt>
                <c:pt idx="274">
                  <c:v>702.7</c:v>
                </c:pt>
                <c:pt idx="275">
                  <c:v>704.76</c:v>
                </c:pt>
                <c:pt idx="276">
                  <c:v>705.6</c:v>
                </c:pt>
                <c:pt idx="277">
                  <c:v>714.54</c:v>
                </c:pt>
                <c:pt idx="278">
                  <c:v>714.89</c:v>
                </c:pt>
                <c:pt idx="279">
                  <c:v>725.23</c:v>
                </c:pt>
                <c:pt idx="280">
                  <c:v>724.66</c:v>
                </c:pt>
                <c:pt idx="281">
                  <c:v>723.06</c:v>
                </c:pt>
                <c:pt idx="282">
                  <c:v>714.98</c:v>
                </c:pt>
                <c:pt idx="283">
                  <c:v>713.63</c:v>
                </c:pt>
                <c:pt idx="284">
                  <c:v>705.48</c:v>
                </c:pt>
                <c:pt idx="285">
                  <c:v>692.79</c:v>
                </c:pt>
                <c:pt idx="286">
                  <c:v>693.96</c:v>
                </c:pt>
                <c:pt idx="287">
                  <c:v>690.26</c:v>
                </c:pt>
                <c:pt idx="288">
                  <c:v>682.49</c:v>
                </c:pt>
                <c:pt idx="289">
                  <c:v>684.3</c:v>
                </c:pt>
                <c:pt idx="290">
                  <c:v>700.43</c:v>
                </c:pt>
                <c:pt idx="291">
                  <c:v>698.39</c:v>
                </c:pt>
                <c:pt idx="292">
                  <c:v>696.99</c:v>
                </c:pt>
                <c:pt idx="293">
                  <c:v>695.17</c:v>
                </c:pt>
                <c:pt idx="294">
                  <c:v>699.03</c:v>
                </c:pt>
                <c:pt idx="295">
                  <c:v>703.93</c:v>
                </c:pt>
                <c:pt idx="296">
                  <c:v>699.11</c:v>
                </c:pt>
                <c:pt idx="297">
                  <c:v>694.23</c:v>
                </c:pt>
                <c:pt idx="298">
                  <c:v>689.2</c:v>
                </c:pt>
                <c:pt idx="299">
                  <c:v>696.33</c:v>
                </c:pt>
                <c:pt idx="300">
                  <c:v>697.44</c:v>
                </c:pt>
                <c:pt idx="301">
                  <c:v>704.1</c:v>
                </c:pt>
                <c:pt idx="302">
                  <c:v>698.54</c:v>
                </c:pt>
                <c:pt idx="303">
                  <c:v>695.19</c:v>
                </c:pt>
                <c:pt idx="304">
                  <c:v>695.11</c:v>
                </c:pt>
                <c:pt idx="305">
                  <c:v>691.68</c:v>
                </c:pt>
                <c:pt idx="306">
                  <c:v>693.93</c:v>
                </c:pt>
                <c:pt idx="307">
                  <c:v>691.45</c:v>
                </c:pt>
                <c:pt idx="308">
                  <c:v>679.95</c:v>
                </c:pt>
                <c:pt idx="309">
                  <c:v>681.44</c:v>
                </c:pt>
                <c:pt idx="310">
                  <c:v>682.65</c:v>
                </c:pt>
                <c:pt idx="311">
                  <c:v>679.39</c:v>
                </c:pt>
                <c:pt idx="312">
                  <c:v>677.48</c:v>
                </c:pt>
                <c:pt idx="313">
                  <c:v>673.51</c:v>
                </c:pt>
                <c:pt idx="314">
                  <c:v>673.55</c:v>
                </c:pt>
                <c:pt idx="315">
                  <c:v>674.82</c:v>
                </c:pt>
                <c:pt idx="316">
                  <c:v>680.23</c:v>
                </c:pt>
                <c:pt idx="317">
                  <c:v>680.81</c:v>
                </c:pt>
                <c:pt idx="318">
                  <c:v>677.24</c:v>
                </c:pt>
                <c:pt idx="319">
                  <c:v>681.05</c:v>
                </c:pt>
                <c:pt idx="320">
                  <c:v>685.26</c:v>
                </c:pt>
                <c:pt idx="321">
                  <c:v>680.1</c:v>
                </c:pt>
                <c:pt idx="322">
                  <c:v>682.31</c:v>
                </c:pt>
                <c:pt idx="323">
                  <c:v>677.38</c:v>
                </c:pt>
                <c:pt idx="324">
                  <c:v>676.78</c:v>
                </c:pt>
                <c:pt idx="325">
                  <c:v>677.12</c:v>
                </c:pt>
                <c:pt idx="326">
                  <c:v>687.82</c:v>
                </c:pt>
                <c:pt idx="327">
                  <c:v>690.67</c:v>
                </c:pt>
                <c:pt idx="328">
                  <c:v>698.64</c:v>
                </c:pt>
                <c:pt idx="329">
                  <c:v>699.38</c:v>
                </c:pt>
                <c:pt idx="330">
                  <c:v>701.27</c:v>
                </c:pt>
                <c:pt idx="331">
                  <c:v>700.96</c:v>
                </c:pt>
                <c:pt idx="332">
                  <c:v>705.22</c:v>
                </c:pt>
                <c:pt idx="333">
                  <c:v>709.42</c:v>
                </c:pt>
                <c:pt idx="334">
                  <c:v>707.14</c:v>
                </c:pt>
                <c:pt idx="335">
                  <c:v>713.69</c:v>
                </c:pt>
                <c:pt idx="336">
                  <c:v>711.21</c:v>
                </c:pt>
                <c:pt idx="337">
                  <c:v>707.65</c:v>
                </c:pt>
                <c:pt idx="338">
                  <c:v>714.35</c:v>
                </c:pt>
                <c:pt idx="339">
                  <c:v>719.91</c:v>
                </c:pt>
                <c:pt idx="340">
                  <c:v>725.51</c:v>
                </c:pt>
                <c:pt idx="341">
                  <c:v>738.55</c:v>
                </c:pt>
                <c:pt idx="342">
                  <c:v>741.97</c:v>
                </c:pt>
                <c:pt idx="343">
                  <c:v>739.65</c:v>
                </c:pt>
                <c:pt idx="344">
                  <c:v>742.15</c:v>
                </c:pt>
                <c:pt idx="345">
                  <c:v>744.44</c:v>
                </c:pt>
                <c:pt idx="346">
                  <c:v>750.12</c:v>
                </c:pt>
                <c:pt idx="347">
                  <c:v>751.99</c:v>
                </c:pt>
                <c:pt idx="348">
                  <c:v>754.3</c:v>
                </c:pt>
                <c:pt idx="349">
                  <c:v>753.73</c:v>
                </c:pt>
                <c:pt idx="350">
                  <c:v>750.46</c:v>
                </c:pt>
                <c:pt idx="351">
                  <c:v>751.79</c:v>
                </c:pt>
                <c:pt idx="352">
                  <c:v>763.44</c:v>
                </c:pt>
                <c:pt idx="353">
                  <c:v>759.34</c:v>
                </c:pt>
                <c:pt idx="354">
                  <c:v>758.86</c:v>
                </c:pt>
                <c:pt idx="355">
                  <c:v>757.77</c:v>
                </c:pt>
                <c:pt idx="356">
                  <c:v>760.5</c:v>
                </c:pt>
                <c:pt idx="357">
                  <c:v>764.72</c:v>
                </c:pt>
                <c:pt idx="358">
                  <c:v>767.16</c:v>
                </c:pt>
                <c:pt idx="359">
                  <c:v>775.3</c:v>
                </c:pt>
                <c:pt idx="360">
                  <c:v>782.98</c:v>
                </c:pt>
                <c:pt idx="361">
                  <c:v>783.35</c:v>
                </c:pt>
                <c:pt idx="362">
                  <c:v>788.57</c:v>
                </c:pt>
                <c:pt idx="363">
                  <c:v>795.06</c:v>
                </c:pt>
                <c:pt idx="364">
                  <c:v>795.17</c:v>
                </c:pt>
                <c:pt idx="365">
                  <c:v>796.06</c:v>
                </c:pt>
                <c:pt idx="366">
                  <c:v>792.92</c:v>
                </c:pt>
                <c:pt idx="367">
                  <c:v>792.59</c:v>
                </c:pt>
                <c:pt idx="368">
                  <c:v>798.13</c:v>
                </c:pt>
                <c:pt idx="369">
                  <c:v>780.76</c:v>
                </c:pt>
                <c:pt idx="370">
                  <c:v>794.41</c:v>
                </c:pt>
                <c:pt idx="371">
                  <c:v>795.73</c:v>
                </c:pt>
                <c:pt idx="372">
                  <c:v>786.18</c:v>
                </c:pt>
                <c:pt idx="373">
                  <c:v>778.52</c:v>
                </c:pt>
                <c:pt idx="374">
                  <c:v>785.63</c:v>
                </c:pt>
                <c:pt idx="375">
                  <c:v>806.22</c:v>
                </c:pt>
                <c:pt idx="376">
                  <c:v>821.1</c:v>
                </c:pt>
                <c:pt idx="377">
                  <c:v>824.89</c:v>
                </c:pt>
                <c:pt idx="378">
                  <c:v>817.63</c:v>
                </c:pt>
                <c:pt idx="379">
                  <c:v>819.07</c:v>
                </c:pt>
                <c:pt idx="380">
                  <c:v>839.73</c:v>
                </c:pt>
                <c:pt idx="381">
                  <c:v>858.11</c:v>
                </c:pt>
                <c:pt idx="382">
                  <c:v>853.52</c:v>
                </c:pt>
                <c:pt idx="383">
                  <c:v>853.37</c:v>
                </c:pt>
                <c:pt idx="384">
                  <c:v>853.05</c:v>
                </c:pt>
                <c:pt idx="385">
                  <c:v>856.76</c:v>
                </c:pt>
                <c:pt idx="386">
                  <c:v>905.68</c:v>
                </c:pt>
                <c:pt idx="387">
                  <c:v>912.53</c:v>
                </c:pt>
                <c:pt idx="388">
                  <c:v>903.57</c:v>
                </c:pt>
                <c:pt idx="389">
                  <c:v>873.51</c:v>
                </c:pt>
                <c:pt idx="390">
                  <c:v>849.63</c:v>
                </c:pt>
                <c:pt idx="391">
                  <c:v>838.69</c:v>
                </c:pt>
                <c:pt idx="392">
                  <c:v>808.76</c:v>
                </c:pt>
                <c:pt idx="393">
                  <c:v>796.82</c:v>
                </c:pt>
                <c:pt idx="394">
                  <c:v>810.65</c:v>
                </c:pt>
                <c:pt idx="395">
                  <c:v>821.66</c:v>
                </c:pt>
                <c:pt idx="396">
                  <c:v>844.47</c:v>
                </c:pt>
                <c:pt idx="397">
                  <c:v>842.25</c:v>
                </c:pt>
                <c:pt idx="398">
                  <c:v>814.55</c:v>
                </c:pt>
                <c:pt idx="399">
                  <c:v>728.83</c:v>
                </c:pt>
                <c:pt idx="400">
                  <c:v>733.66</c:v>
                </c:pt>
                <c:pt idx="401">
                  <c:v>696.56</c:v>
                </c:pt>
                <c:pt idx="402">
                  <c:v>614.73</c:v>
                </c:pt>
                <c:pt idx="403">
                  <c:v>636.15</c:v>
                </c:pt>
                <c:pt idx="404">
                  <c:v>573.52</c:v>
                </c:pt>
                <c:pt idx="405">
                  <c:v>609.6</c:v>
                </c:pt>
                <c:pt idx="406">
                  <c:v>548.52</c:v>
                </c:pt>
                <c:pt idx="407">
                  <c:v>556.09</c:v>
                </c:pt>
                <c:pt idx="408">
                  <c:v>563.77</c:v>
                </c:pt>
                <c:pt idx="409">
                  <c:v>530.32000000000005</c:v>
                </c:pt>
                <c:pt idx="410">
                  <c:v>592.17999999999995</c:v>
                </c:pt>
                <c:pt idx="411">
                  <c:v>619.48</c:v>
                </c:pt>
                <c:pt idx="412">
                  <c:v>640.1</c:v>
                </c:pt>
                <c:pt idx="413">
                  <c:v>608.03</c:v>
                </c:pt>
                <c:pt idx="414">
                  <c:v>606.24</c:v>
                </c:pt>
                <c:pt idx="415">
                  <c:v>614.35</c:v>
                </c:pt>
                <c:pt idx="416">
                  <c:v>590.69000000000005</c:v>
                </c:pt>
                <c:pt idx="417">
                  <c:v>596.07000000000005</c:v>
                </c:pt>
                <c:pt idx="418">
                  <c:v>589.71</c:v>
                </c:pt>
                <c:pt idx="419">
                  <c:v>623.64</c:v>
                </c:pt>
                <c:pt idx="420">
                  <c:v>639.79999999999995</c:v>
                </c:pt>
                <c:pt idx="421">
                  <c:v>656.17</c:v>
                </c:pt>
                <c:pt idx="422">
                  <c:v>666.5</c:v>
                </c:pt>
                <c:pt idx="423">
                  <c:v>662</c:v>
                </c:pt>
                <c:pt idx="424">
                  <c:v>679.07</c:v>
                </c:pt>
                <c:pt idx="425">
                  <c:v>655.1</c:v>
                </c:pt>
                <c:pt idx="426">
                  <c:v>652.34</c:v>
                </c:pt>
                <c:pt idx="427">
                  <c:v>673.33</c:v>
                </c:pt>
                <c:pt idx="428">
                  <c:v>665.38</c:v>
                </c:pt>
                <c:pt idx="429">
                  <c:v>642.24</c:v>
                </c:pt>
                <c:pt idx="430">
                  <c:v>652.08000000000004</c:v>
                </c:pt>
                <c:pt idx="431">
                  <c:v>661.15</c:v>
                </c:pt>
                <c:pt idx="432">
                  <c:v>645.48</c:v>
                </c:pt>
                <c:pt idx="433">
                  <c:v>659.92</c:v>
                </c:pt>
                <c:pt idx="434">
                  <c:v>678.06</c:v>
                </c:pt>
                <c:pt idx="435">
                  <c:v>703.86</c:v>
                </c:pt>
                <c:pt idx="436">
                  <c:v>686.57</c:v>
                </c:pt>
                <c:pt idx="437">
                  <c:v>668.11</c:v>
                </c:pt>
                <c:pt idx="438">
                  <c:v>664.53</c:v>
                </c:pt>
                <c:pt idx="439">
                  <c:v>672.16</c:v>
                </c:pt>
                <c:pt idx="440">
                  <c:v>683.16</c:v>
                </c:pt>
                <c:pt idx="441">
                  <c:v>684.86</c:v>
                </c:pt>
                <c:pt idx="442">
                  <c:v>707.85</c:v>
                </c:pt>
                <c:pt idx="443">
                  <c:v>711.98</c:v>
                </c:pt>
                <c:pt idx="444">
                  <c:v>709.34</c:v>
                </c:pt>
                <c:pt idx="445">
                  <c:v>692.59</c:v>
                </c:pt>
                <c:pt idx="446">
                  <c:v>686.84</c:v>
                </c:pt>
                <c:pt idx="447">
                  <c:v>687.5</c:v>
                </c:pt>
                <c:pt idx="448">
                  <c:v>719.98</c:v>
                </c:pt>
                <c:pt idx="449">
                  <c:v>725.43</c:v>
                </c:pt>
                <c:pt idx="450">
                  <c:v>731.91</c:v>
                </c:pt>
                <c:pt idx="451">
                  <c:v>728.14</c:v>
                </c:pt>
                <c:pt idx="452">
                  <c:v>719.78</c:v>
                </c:pt>
                <c:pt idx="453">
                  <c:v>725.8</c:v>
                </c:pt>
                <c:pt idx="454">
                  <c:v>746.78</c:v>
                </c:pt>
                <c:pt idx="455">
                  <c:v>750.62</c:v>
                </c:pt>
                <c:pt idx="456">
                  <c:v>745.69</c:v>
                </c:pt>
                <c:pt idx="457">
                  <c:v>756.87</c:v>
                </c:pt>
                <c:pt idx="458">
                  <c:v>766.56</c:v>
                </c:pt>
                <c:pt idx="459">
                  <c:v>775.2</c:v>
                </c:pt>
                <c:pt idx="460">
                  <c:v>783.3</c:v>
                </c:pt>
                <c:pt idx="461">
                  <c:v>787.11</c:v>
                </c:pt>
                <c:pt idx="462">
                  <c:v>801.31</c:v>
                </c:pt>
                <c:pt idx="463">
                  <c:v>819.08</c:v>
                </c:pt>
                <c:pt idx="464">
                  <c:v>808.8</c:v>
                </c:pt>
                <c:pt idx="465">
                  <c:v>803.2</c:v>
                </c:pt>
                <c:pt idx="466">
                  <c:v>760.01</c:v>
                </c:pt>
                <c:pt idx="467">
                  <c:v>767.57</c:v>
                </c:pt>
                <c:pt idx="468">
                  <c:v>777.13</c:v>
                </c:pt>
                <c:pt idx="469">
                  <c:v>791.98</c:v>
                </c:pt>
                <c:pt idx="470">
                  <c:v>778.74</c:v>
                </c:pt>
                <c:pt idx="471">
                  <c:v>784.39</c:v>
                </c:pt>
                <c:pt idx="472">
                  <c:v>787.37</c:v>
                </c:pt>
                <c:pt idx="473">
                  <c:v>789.49</c:v>
                </c:pt>
                <c:pt idx="474">
                  <c:v>801.46</c:v>
                </c:pt>
                <c:pt idx="475">
                  <c:v>789.82</c:v>
                </c:pt>
                <c:pt idx="476">
                  <c:v>786.5</c:v>
                </c:pt>
                <c:pt idx="477">
                  <c:v>766.65</c:v>
                </c:pt>
                <c:pt idx="478">
                  <c:v>790.14</c:v>
                </c:pt>
                <c:pt idx="479">
                  <c:v>796.14</c:v>
                </c:pt>
                <c:pt idx="480">
                  <c:v>807.71</c:v>
                </c:pt>
                <c:pt idx="481">
                  <c:v>820.16</c:v>
                </c:pt>
                <c:pt idx="482">
                  <c:v>825.47</c:v>
                </c:pt>
                <c:pt idx="483">
                  <c:v>850.76</c:v>
                </c:pt>
                <c:pt idx="484">
                  <c:v>851</c:v>
                </c:pt>
                <c:pt idx="485">
                  <c:v>875.48</c:v>
                </c:pt>
                <c:pt idx="486">
                  <c:v>866.2</c:v>
                </c:pt>
                <c:pt idx="487">
                  <c:v>864.21</c:v>
                </c:pt>
                <c:pt idx="488">
                  <c:v>859.14</c:v>
                </c:pt>
                <c:pt idx="489">
                  <c:v>877.96</c:v>
                </c:pt>
                <c:pt idx="490">
                  <c:v>899.05</c:v>
                </c:pt>
                <c:pt idx="491">
                  <c:v>892.58</c:v>
                </c:pt>
                <c:pt idx="492">
                  <c:v>904.55</c:v>
                </c:pt>
                <c:pt idx="493">
                  <c:v>922.43</c:v>
                </c:pt>
                <c:pt idx="494">
                  <c:v>929.58</c:v>
                </c:pt>
                <c:pt idx="495">
                  <c:v>934.42</c:v>
                </c:pt>
                <c:pt idx="496">
                  <c:v>941.4</c:v>
                </c:pt>
                <c:pt idx="497">
                  <c:v>922.48</c:v>
                </c:pt>
                <c:pt idx="498">
                  <c:v>938.55</c:v>
                </c:pt>
                <c:pt idx="499">
                  <c:v>917.44</c:v>
                </c:pt>
                <c:pt idx="500">
                  <c:v>919.39</c:v>
                </c:pt>
                <c:pt idx="501">
                  <c:v>923.58</c:v>
                </c:pt>
                <c:pt idx="502">
                  <c:v>921.51</c:v>
                </c:pt>
                <c:pt idx="503">
                  <c:v>937.67</c:v>
                </c:pt>
                <c:pt idx="504">
                  <c:v>969.29</c:v>
                </c:pt>
                <c:pt idx="505">
                  <c:v>996.25</c:v>
                </c:pt>
                <c:pt idx="506">
                  <c:v>997.72</c:v>
                </c:pt>
                <c:pt idx="507">
                  <c:v>1012.15</c:v>
                </c:pt>
                <c:pt idx="508">
                  <c:v>1015.58</c:v>
                </c:pt>
                <c:pt idx="509">
                  <c:v>1006.09</c:v>
                </c:pt>
                <c:pt idx="510">
                  <c:v>1017.39</c:v>
                </c:pt>
                <c:pt idx="511">
                  <c:v>1036.3599999999999</c:v>
                </c:pt>
                <c:pt idx="512">
                  <c:v>1026.94</c:v>
                </c:pt>
                <c:pt idx="513">
                  <c:v>1038.1400000000001</c:v>
                </c:pt>
                <c:pt idx="514">
                  <c:v>1042.52</c:v>
                </c:pt>
                <c:pt idx="515">
                  <c:v>1051.3800000000001</c:v>
                </c:pt>
                <c:pt idx="516">
                  <c:v>1036.3599999999999</c:v>
                </c:pt>
                <c:pt idx="517">
                  <c:v>1037.1600000000001</c:v>
                </c:pt>
                <c:pt idx="518">
                  <c:v>1052.2</c:v>
                </c:pt>
                <c:pt idx="519">
                  <c:v>1074.24</c:v>
                </c:pt>
                <c:pt idx="520">
                  <c:v>1072.6300000000001</c:v>
                </c:pt>
                <c:pt idx="521">
                  <c:v>1070.81</c:v>
                </c:pt>
                <c:pt idx="522">
                  <c:v>1096.08</c:v>
                </c:pt>
                <c:pt idx="523">
                  <c:v>1093.73</c:v>
                </c:pt>
                <c:pt idx="524">
                  <c:v>1109.92</c:v>
                </c:pt>
                <c:pt idx="525">
                  <c:v>1103.08</c:v>
                </c:pt>
                <c:pt idx="526">
                  <c:v>1046.83</c:v>
                </c:pt>
                <c:pt idx="527">
                  <c:v>1023.41</c:v>
                </c:pt>
                <c:pt idx="528">
                  <c:v>1033.1600000000001</c:v>
                </c:pt>
                <c:pt idx="529">
                  <c:v>1021.69</c:v>
                </c:pt>
                <c:pt idx="530">
                  <c:v>1050.03</c:v>
                </c:pt>
                <c:pt idx="531">
                  <c:v>1035.08</c:v>
                </c:pt>
                <c:pt idx="532">
                  <c:v>1032.24</c:v>
                </c:pt>
                <c:pt idx="533">
                  <c:v>1061.75</c:v>
                </c:pt>
                <c:pt idx="534">
                  <c:v>1078.8900000000001</c:v>
                </c:pt>
                <c:pt idx="535">
                  <c:v>1087.67</c:v>
                </c:pt>
                <c:pt idx="536">
                  <c:v>1063.43</c:v>
                </c:pt>
                <c:pt idx="537">
                  <c:v>1066.6500000000001</c:v>
                </c:pt>
                <c:pt idx="538">
                  <c:v>1056.06</c:v>
                </c:pt>
                <c:pt idx="539">
                  <c:v>1061.67</c:v>
                </c:pt>
                <c:pt idx="540">
                  <c:v>1058.6500000000001</c:v>
                </c:pt>
                <c:pt idx="541">
                  <c:v>1048.97</c:v>
                </c:pt>
                <c:pt idx="542">
                  <c:v>1069.28</c:v>
                </c:pt>
                <c:pt idx="543">
                  <c:v>1118.55</c:v>
                </c:pt>
                <c:pt idx="544">
                  <c:v>1145.06</c:v>
                </c:pt>
                <c:pt idx="545">
                  <c:v>1176.9100000000001</c:v>
                </c:pt>
                <c:pt idx="546">
                  <c:v>1211.5</c:v>
                </c:pt>
                <c:pt idx="547">
                  <c:v>1210.8399999999999</c:v>
                </c:pt>
                <c:pt idx="548">
                  <c:v>1267.23</c:v>
                </c:pt>
                <c:pt idx="549">
                  <c:v>1282.5899999999999</c:v>
                </c:pt>
                <c:pt idx="550">
                  <c:v>1339.67</c:v>
                </c:pt>
                <c:pt idx="551">
                  <c:v>1345.37</c:v>
                </c:pt>
                <c:pt idx="552">
                  <c:v>1362.36</c:v>
                </c:pt>
                <c:pt idx="553">
                  <c:v>1335.56</c:v>
                </c:pt>
                <c:pt idx="554">
                  <c:v>1332.47</c:v>
                </c:pt>
                <c:pt idx="555">
                  <c:v>1347.87</c:v>
                </c:pt>
                <c:pt idx="556">
                  <c:v>1334.73</c:v>
                </c:pt>
                <c:pt idx="557">
                  <c:v>1332.7</c:v>
                </c:pt>
                <c:pt idx="558">
                  <c:v>1328.41</c:v>
                </c:pt>
                <c:pt idx="559">
                  <c:v>1347.77</c:v>
                </c:pt>
                <c:pt idx="560">
                  <c:v>1295.33</c:v>
                </c:pt>
                <c:pt idx="561">
                  <c:v>1285.71</c:v>
                </c:pt>
                <c:pt idx="562">
                  <c:v>1286.0899999999999</c:v>
                </c:pt>
                <c:pt idx="563">
                  <c:v>1266.4100000000001</c:v>
                </c:pt>
                <c:pt idx="564">
                  <c:v>1256.42</c:v>
                </c:pt>
                <c:pt idx="565">
                  <c:v>1246.3900000000001</c:v>
                </c:pt>
                <c:pt idx="566">
                  <c:v>1254.57</c:v>
                </c:pt>
                <c:pt idx="567">
                  <c:v>1244.82</c:v>
                </c:pt>
                <c:pt idx="568">
                  <c:v>1265.49</c:v>
                </c:pt>
                <c:pt idx="569">
                  <c:v>1283.3699999999999</c:v>
                </c:pt>
                <c:pt idx="570">
                  <c:v>1266.3800000000001</c:v>
                </c:pt>
                <c:pt idx="571">
                  <c:v>1349.4</c:v>
                </c:pt>
                <c:pt idx="572">
                  <c:v>1361.79</c:v>
                </c:pt>
                <c:pt idx="573">
                  <c:v>1362.7</c:v>
                </c:pt>
                <c:pt idx="574">
                  <c:v>1346.23</c:v>
                </c:pt>
                <c:pt idx="575">
                  <c:v>1387.52</c:v>
                </c:pt>
                <c:pt idx="576">
                  <c:v>1386.16</c:v>
                </c:pt>
                <c:pt idx="577">
                  <c:v>1379.72</c:v>
                </c:pt>
                <c:pt idx="578">
                  <c:v>1387.96</c:v>
                </c:pt>
                <c:pt idx="579">
                  <c:v>1387.97</c:v>
                </c:pt>
                <c:pt idx="580">
                  <c:v>1374.89</c:v>
                </c:pt>
                <c:pt idx="581">
                  <c:v>1384.13</c:v>
                </c:pt>
                <c:pt idx="582">
                  <c:v>1404.19</c:v>
                </c:pt>
                <c:pt idx="583">
                  <c:v>1430.27</c:v>
                </c:pt>
                <c:pt idx="584">
                  <c:v>1445.25</c:v>
                </c:pt>
                <c:pt idx="585">
                  <c:v>1471.04</c:v>
                </c:pt>
                <c:pt idx="586">
                  <c:v>1467.14</c:v>
                </c:pt>
                <c:pt idx="587">
                  <c:v>1498.84</c:v>
                </c:pt>
                <c:pt idx="588">
                  <c:v>1500.6</c:v>
                </c:pt>
                <c:pt idx="589">
                  <c:v>1482.9</c:v>
                </c:pt>
                <c:pt idx="590">
                  <c:v>1468.41</c:v>
                </c:pt>
                <c:pt idx="591">
                  <c:v>1463.16</c:v>
                </c:pt>
                <c:pt idx="592">
                  <c:v>1464.72</c:v>
                </c:pt>
                <c:pt idx="593">
                  <c:v>1473.05</c:v>
                </c:pt>
                <c:pt idx="594">
                  <c:v>1505.62</c:v>
                </c:pt>
                <c:pt idx="595">
                  <c:v>1481.39</c:v>
                </c:pt>
                <c:pt idx="596">
                  <c:v>1491.62</c:v>
                </c:pt>
                <c:pt idx="597">
                  <c:v>1503.85</c:v>
                </c:pt>
                <c:pt idx="598">
                  <c:v>1523.76</c:v>
                </c:pt>
                <c:pt idx="599">
                  <c:v>1586.83</c:v>
                </c:pt>
                <c:pt idx="600">
                  <c:v>1594.95</c:v>
                </c:pt>
                <c:pt idx="601">
                  <c:v>1622.4</c:v>
                </c:pt>
                <c:pt idx="602">
                  <c:v>1648.73</c:v>
                </c:pt>
                <c:pt idx="603">
                  <c:v>1671.77</c:v>
                </c:pt>
                <c:pt idx="604">
                  <c:v>1732.46</c:v>
                </c:pt>
                <c:pt idx="605">
                  <c:v>1764.04</c:v>
                </c:pt>
                <c:pt idx="606">
                  <c:v>1761.47</c:v>
                </c:pt>
                <c:pt idx="607">
                  <c:v>1769.53</c:v>
                </c:pt>
                <c:pt idx="608">
                  <c:v>1762.35</c:v>
                </c:pt>
                <c:pt idx="609">
                  <c:v>1797.23</c:v>
                </c:pt>
                <c:pt idx="610">
                  <c:v>1790.76</c:v>
                </c:pt>
                <c:pt idx="611">
                  <c:v>1820.22</c:v>
                </c:pt>
                <c:pt idx="612">
                  <c:v>1857.2</c:v>
                </c:pt>
                <c:pt idx="613">
                  <c:v>1957.09</c:v>
                </c:pt>
                <c:pt idx="614">
                  <c:v>2091.7399999999998</c:v>
                </c:pt>
                <c:pt idx="615">
                  <c:v>2113.52</c:v>
                </c:pt>
                <c:pt idx="616">
                  <c:v>2034.27</c:v>
                </c:pt>
                <c:pt idx="617">
                  <c:v>2057.0500000000002</c:v>
                </c:pt>
                <c:pt idx="618">
                  <c:v>2066.96</c:v>
                </c:pt>
                <c:pt idx="619">
                  <c:v>2050.5100000000002</c:v>
                </c:pt>
                <c:pt idx="620">
                  <c:v>1945.6</c:v>
                </c:pt>
                <c:pt idx="621">
                  <c:v>1937.8</c:v>
                </c:pt>
                <c:pt idx="622">
                  <c:v>2003.68</c:v>
                </c:pt>
                <c:pt idx="623">
                  <c:v>1989.51</c:v>
                </c:pt>
                <c:pt idx="624">
                  <c:v>2069.5</c:v>
                </c:pt>
                <c:pt idx="625">
                  <c:v>2096.08</c:v>
                </c:pt>
                <c:pt idx="626">
                  <c:v>2065.98</c:v>
                </c:pt>
                <c:pt idx="627">
                  <c:v>2047.86</c:v>
                </c:pt>
                <c:pt idx="628">
                  <c:v>1940.97</c:v>
                </c:pt>
                <c:pt idx="629">
                  <c:v>1952.31</c:v>
                </c:pt>
                <c:pt idx="630">
                  <c:v>1903.24</c:v>
                </c:pt>
                <c:pt idx="631">
                  <c:v>1938.84</c:v>
                </c:pt>
                <c:pt idx="632">
                  <c:v>1961.06</c:v>
                </c:pt>
                <c:pt idx="633">
                  <c:v>1994.52</c:v>
                </c:pt>
                <c:pt idx="634">
                  <c:v>1969.89</c:v>
                </c:pt>
                <c:pt idx="635">
                  <c:v>1984.14</c:v>
                </c:pt>
                <c:pt idx="636">
                  <c:v>2010.16</c:v>
                </c:pt>
                <c:pt idx="637">
                  <c:v>1995.09</c:v>
                </c:pt>
                <c:pt idx="638">
                  <c:v>1972.93</c:v>
                </c:pt>
                <c:pt idx="639">
                  <c:v>1980.07</c:v>
                </c:pt>
                <c:pt idx="640">
                  <c:v>1938.84</c:v>
                </c:pt>
                <c:pt idx="641">
                  <c:v>1947.72</c:v>
                </c:pt>
                <c:pt idx="642">
                  <c:v>1918.15</c:v>
                </c:pt>
                <c:pt idx="643">
                  <c:v>1883.06</c:v>
                </c:pt>
                <c:pt idx="644">
                  <c:v>1787.02</c:v>
                </c:pt>
                <c:pt idx="645">
                  <c:v>1819.98</c:v>
                </c:pt>
                <c:pt idx="646">
                  <c:v>1712.09</c:v>
                </c:pt>
                <c:pt idx="647">
                  <c:v>1681.1</c:v>
                </c:pt>
                <c:pt idx="648">
                  <c:v>1701.08</c:v>
                </c:pt>
                <c:pt idx="649">
                  <c:v>1644.59</c:v>
                </c:pt>
                <c:pt idx="650">
                  <c:v>1648.4</c:v>
                </c:pt>
                <c:pt idx="651">
                  <c:v>1713.13</c:v>
                </c:pt>
                <c:pt idx="652">
                  <c:v>1662.67</c:v>
                </c:pt>
                <c:pt idx="653">
                  <c:v>1564.73</c:v>
                </c:pt>
                <c:pt idx="654">
                  <c:v>1507.22</c:v>
                </c:pt>
                <c:pt idx="655">
                  <c:v>1459.23</c:v>
                </c:pt>
                <c:pt idx="656">
                  <c:v>1432.4</c:v>
                </c:pt>
                <c:pt idx="657">
                  <c:v>1531.63</c:v>
                </c:pt>
                <c:pt idx="658">
                  <c:v>1536.22</c:v>
                </c:pt>
                <c:pt idx="659">
                  <c:v>1628.16</c:v>
                </c:pt>
                <c:pt idx="660">
                  <c:v>1620.06</c:v>
                </c:pt>
                <c:pt idx="661">
                  <c:v>1609.64</c:v>
                </c:pt>
                <c:pt idx="662">
                  <c:v>1583.95</c:v>
                </c:pt>
                <c:pt idx="663">
                  <c:v>1527.92</c:v>
                </c:pt>
                <c:pt idx="664">
                  <c:v>1475.75</c:v>
                </c:pt>
                <c:pt idx="665">
                  <c:v>1490.46</c:v>
                </c:pt>
                <c:pt idx="666">
                  <c:v>1518.88</c:v>
                </c:pt>
                <c:pt idx="667">
                  <c:v>1497.87</c:v>
                </c:pt>
                <c:pt idx="668">
                  <c:v>1435.88</c:v>
                </c:pt>
                <c:pt idx="669">
                  <c:v>1425.88</c:v>
                </c:pt>
                <c:pt idx="670">
                  <c:v>1458.28</c:v>
                </c:pt>
                <c:pt idx="671">
                  <c:v>1427.25</c:v>
                </c:pt>
                <c:pt idx="672">
                  <c:v>1484.38</c:v>
                </c:pt>
                <c:pt idx="673">
                  <c:v>1533.55</c:v>
                </c:pt>
                <c:pt idx="674">
                  <c:v>1545.43</c:v>
                </c:pt>
                <c:pt idx="675">
                  <c:v>1544.81</c:v>
                </c:pt>
                <c:pt idx="676">
                  <c:v>1507.87</c:v>
                </c:pt>
                <c:pt idx="677">
                  <c:v>1516.13</c:v>
                </c:pt>
                <c:pt idx="678">
                  <c:v>1478.16</c:v>
                </c:pt>
                <c:pt idx="679">
                  <c:v>1488.27</c:v>
                </c:pt>
                <c:pt idx="680">
                  <c:v>1488.18</c:v>
                </c:pt>
                <c:pt idx="681">
                  <c:v>1462.8</c:v>
                </c:pt>
                <c:pt idx="682">
                  <c:v>1486.54</c:v>
                </c:pt>
                <c:pt idx="683">
                  <c:v>1492.75</c:v>
                </c:pt>
                <c:pt idx="684">
                  <c:v>1472.34</c:v>
                </c:pt>
                <c:pt idx="685">
                  <c:v>1509.91</c:v>
                </c:pt>
                <c:pt idx="686">
                  <c:v>1477.12</c:v>
                </c:pt>
                <c:pt idx="687">
                  <c:v>1467.67</c:v>
                </c:pt>
                <c:pt idx="688">
                  <c:v>1484.66</c:v>
                </c:pt>
                <c:pt idx="689">
                  <c:v>1528.08</c:v>
                </c:pt>
                <c:pt idx="690">
                  <c:v>1549.24</c:v>
                </c:pt>
                <c:pt idx="691">
                  <c:v>1562.07</c:v>
                </c:pt>
                <c:pt idx="692">
                  <c:v>1555.37</c:v>
                </c:pt>
                <c:pt idx="693">
                  <c:v>1525.72</c:v>
                </c:pt>
                <c:pt idx="694">
                  <c:v>1499.83</c:v>
                </c:pt>
                <c:pt idx="695">
                  <c:v>1475.01</c:v>
                </c:pt>
                <c:pt idx="696">
                  <c:v>1458.75</c:v>
                </c:pt>
                <c:pt idx="697">
                  <c:v>1394.17</c:v>
                </c:pt>
                <c:pt idx="698">
                  <c:v>1398.08</c:v>
                </c:pt>
                <c:pt idx="699">
                  <c:v>1374.42</c:v>
                </c:pt>
                <c:pt idx="700">
                  <c:v>1400.21</c:v>
                </c:pt>
                <c:pt idx="701">
                  <c:v>1366.34</c:v>
                </c:pt>
                <c:pt idx="702">
                  <c:v>1357.83</c:v>
                </c:pt>
                <c:pt idx="703">
                  <c:v>1324.22</c:v>
                </c:pt>
                <c:pt idx="704">
                  <c:v>1322.57</c:v>
                </c:pt>
                <c:pt idx="705">
                  <c:v>1362.4</c:v>
                </c:pt>
                <c:pt idx="706">
                  <c:v>1356.49</c:v>
                </c:pt>
                <c:pt idx="707">
                  <c:v>1386.73</c:v>
                </c:pt>
                <c:pt idx="708">
                  <c:v>1391.71</c:v>
                </c:pt>
                <c:pt idx="709">
                  <c:v>1425.24</c:v>
                </c:pt>
                <c:pt idx="710">
                  <c:v>1435.33</c:v>
                </c:pt>
                <c:pt idx="711">
                  <c:v>1432.4</c:v>
                </c:pt>
                <c:pt idx="712">
                  <c:v>1432.73</c:v>
                </c:pt>
                <c:pt idx="713">
                  <c:v>1450.45</c:v>
                </c:pt>
                <c:pt idx="714">
                  <c:v>1445.06</c:v>
                </c:pt>
                <c:pt idx="715">
                  <c:v>1453.68</c:v>
                </c:pt>
                <c:pt idx="716">
                  <c:v>1451.39</c:v>
                </c:pt>
                <c:pt idx="717">
                  <c:v>1450.96</c:v>
                </c:pt>
                <c:pt idx="718">
                  <c:v>1428.94</c:v>
                </c:pt>
                <c:pt idx="719">
                  <c:v>1406.54</c:v>
                </c:pt>
                <c:pt idx="720">
                  <c:v>1415.99</c:v>
                </c:pt>
                <c:pt idx="721">
                  <c:v>1422.22</c:v>
                </c:pt>
                <c:pt idx="722">
                  <c:v>1430.12</c:v>
                </c:pt>
                <c:pt idx="723">
                  <c:v>1424.66</c:v>
                </c:pt>
                <c:pt idx="724">
                  <c:v>1426.8</c:v>
                </c:pt>
                <c:pt idx="725">
                  <c:v>1434.47</c:v>
                </c:pt>
                <c:pt idx="726">
                  <c:v>1451.81</c:v>
                </c:pt>
                <c:pt idx="727">
                  <c:v>1435.97</c:v>
                </c:pt>
                <c:pt idx="728">
                  <c:v>1455.95</c:v>
                </c:pt>
                <c:pt idx="729">
                  <c:v>1451.48</c:v>
                </c:pt>
                <c:pt idx="730">
                  <c:v>1431.97</c:v>
                </c:pt>
                <c:pt idx="731">
                  <c:v>1440.92</c:v>
                </c:pt>
                <c:pt idx="732">
                  <c:v>1456.45</c:v>
                </c:pt>
                <c:pt idx="733">
                  <c:v>1457.05</c:v>
                </c:pt>
                <c:pt idx="734">
                  <c:v>1462.72</c:v>
                </c:pt>
                <c:pt idx="735">
                  <c:v>1472.59</c:v>
                </c:pt>
                <c:pt idx="736">
                  <c:v>1506.61</c:v>
                </c:pt>
                <c:pt idx="737">
                  <c:v>1516.92</c:v>
                </c:pt>
                <c:pt idx="738">
                  <c:v>1493.33</c:v>
                </c:pt>
                <c:pt idx="739">
                  <c:v>1501.35</c:v>
                </c:pt>
                <c:pt idx="740">
                  <c:v>1494.83</c:v>
                </c:pt>
                <c:pt idx="741">
                  <c:v>1496.89</c:v>
                </c:pt>
                <c:pt idx="742">
                  <c:v>1508.5</c:v>
                </c:pt>
                <c:pt idx="743">
                  <c:v>1503.26</c:v>
                </c:pt>
                <c:pt idx="744">
                  <c:v>1477.58</c:v>
                </c:pt>
                <c:pt idx="745">
                  <c:v>1478.75</c:v>
                </c:pt>
                <c:pt idx="746">
                  <c:v>1497.59</c:v>
                </c:pt>
                <c:pt idx="747">
                  <c:v>1483.85</c:v>
                </c:pt>
                <c:pt idx="748">
                  <c:v>1449.73</c:v>
                </c:pt>
                <c:pt idx="749">
                  <c:v>1419.85</c:v>
                </c:pt>
                <c:pt idx="750">
                  <c:v>1412.59</c:v>
                </c:pt>
                <c:pt idx="751">
                  <c:v>1395.82</c:v>
                </c:pt>
                <c:pt idx="752">
                  <c:v>1406.95</c:v>
                </c:pt>
                <c:pt idx="753">
                  <c:v>1448.66</c:v>
                </c:pt>
                <c:pt idx="754">
                  <c:v>1455.4</c:v>
                </c:pt>
                <c:pt idx="755">
                  <c:v>1435.79</c:v>
                </c:pt>
                <c:pt idx="756">
                  <c:v>1428.46</c:v>
                </c:pt>
                <c:pt idx="757">
                  <c:v>1413.94</c:v>
                </c:pt>
                <c:pt idx="758">
                  <c:v>1445.47</c:v>
                </c:pt>
                <c:pt idx="759">
                  <c:v>1448.92</c:v>
                </c:pt>
                <c:pt idx="760">
                  <c:v>1444.11</c:v>
                </c:pt>
                <c:pt idx="761">
                  <c:v>1449.97</c:v>
                </c:pt>
                <c:pt idx="762">
                  <c:v>1472.01</c:v>
                </c:pt>
                <c:pt idx="763">
                  <c:v>1474.79</c:v>
                </c:pt>
                <c:pt idx="764">
                  <c:v>1465.15</c:v>
                </c:pt>
                <c:pt idx="765">
                  <c:v>1458.63</c:v>
                </c:pt>
                <c:pt idx="766">
                  <c:v>1478.67</c:v>
                </c:pt>
                <c:pt idx="767">
                  <c:v>1479.68</c:v>
                </c:pt>
                <c:pt idx="768">
                  <c:v>1467.91</c:v>
                </c:pt>
                <c:pt idx="769">
                  <c:v>1449.03</c:v>
                </c:pt>
                <c:pt idx="770">
                  <c:v>1443.77</c:v>
                </c:pt>
                <c:pt idx="771">
                  <c:v>1427.98</c:v>
                </c:pt>
                <c:pt idx="772">
                  <c:v>1412.37</c:v>
                </c:pt>
                <c:pt idx="773">
                  <c:v>1427.4</c:v>
                </c:pt>
                <c:pt idx="774">
                  <c:v>1422.39</c:v>
                </c:pt>
                <c:pt idx="775">
                  <c:v>1441.72</c:v>
                </c:pt>
                <c:pt idx="776">
                  <c:v>1460.74</c:v>
                </c:pt>
                <c:pt idx="777">
                  <c:v>1473.44</c:v>
                </c:pt>
                <c:pt idx="778">
                  <c:v>1473.43</c:v>
                </c:pt>
                <c:pt idx="779">
                  <c:v>1462.24</c:v>
                </c:pt>
                <c:pt idx="780">
                  <c:v>1468.92</c:v>
                </c:pt>
                <c:pt idx="781">
                  <c:v>1485.73</c:v>
                </c:pt>
                <c:pt idx="782">
                  <c:v>1483.53</c:v>
                </c:pt>
                <c:pt idx="783">
                  <c:v>1498.29</c:v>
                </c:pt>
                <c:pt idx="784">
                  <c:v>1514.21</c:v>
                </c:pt>
                <c:pt idx="785">
                  <c:v>1502.95</c:v>
                </c:pt>
                <c:pt idx="786">
                  <c:v>1497.68</c:v>
                </c:pt>
                <c:pt idx="787">
                  <c:v>1488.04</c:v>
                </c:pt>
                <c:pt idx="788">
                  <c:v>1460.38</c:v>
                </c:pt>
                <c:pt idx="789">
                  <c:v>1459.62</c:v>
                </c:pt>
                <c:pt idx="790">
                  <c:v>1441.43</c:v>
                </c:pt>
                <c:pt idx="791">
                  <c:v>1461.16</c:v>
                </c:pt>
                <c:pt idx="792">
                  <c:v>1457.47</c:v>
                </c:pt>
                <c:pt idx="793">
                  <c:v>1433.52</c:v>
                </c:pt>
                <c:pt idx="794">
                  <c:v>1423.16</c:v>
                </c:pt>
                <c:pt idx="795">
                  <c:v>1424.5</c:v>
                </c:pt>
                <c:pt idx="796">
                  <c:v>1396.38</c:v>
                </c:pt>
                <c:pt idx="797">
                  <c:v>1410.85</c:v>
                </c:pt>
                <c:pt idx="798">
                  <c:v>1429.32</c:v>
                </c:pt>
                <c:pt idx="799">
                  <c:v>1444.49</c:v>
                </c:pt>
                <c:pt idx="800">
                  <c:v>1418.43</c:v>
                </c:pt>
                <c:pt idx="801">
                  <c:v>1425.69</c:v>
                </c:pt>
                <c:pt idx="802">
                  <c:v>1396.08</c:v>
                </c:pt>
                <c:pt idx="803">
                  <c:v>1384.61</c:v>
                </c:pt>
                <c:pt idx="804">
                  <c:v>1378.17</c:v>
                </c:pt>
                <c:pt idx="805">
                  <c:v>1381.9</c:v>
                </c:pt>
                <c:pt idx="806">
                  <c:v>1346.66</c:v>
                </c:pt>
                <c:pt idx="807">
                  <c:v>1350.72</c:v>
                </c:pt>
                <c:pt idx="808">
                  <c:v>1349.81</c:v>
                </c:pt>
                <c:pt idx="809">
                  <c:v>1370.64</c:v>
                </c:pt>
                <c:pt idx="810">
                  <c:v>1357.85</c:v>
                </c:pt>
                <c:pt idx="811">
                  <c:v>1365.86</c:v>
                </c:pt>
                <c:pt idx="812">
                  <c:v>1407.65</c:v>
                </c:pt>
                <c:pt idx="813">
                  <c:v>1447.63</c:v>
                </c:pt>
                <c:pt idx="814">
                  <c:v>1446.5</c:v>
                </c:pt>
                <c:pt idx="815">
                  <c:v>1455.03</c:v>
                </c:pt>
                <c:pt idx="816">
                  <c:v>1461.42</c:v>
                </c:pt>
                <c:pt idx="817">
                  <c:v>1498.38</c:v>
                </c:pt>
                <c:pt idx="818">
                  <c:v>1507.92</c:v>
                </c:pt>
                <c:pt idx="819">
                  <c:v>1512.44</c:v>
                </c:pt>
                <c:pt idx="820">
                  <c:v>1500.1</c:v>
                </c:pt>
                <c:pt idx="821">
                  <c:v>1516.9</c:v>
                </c:pt>
                <c:pt idx="822">
                  <c:v>1512.1</c:v>
                </c:pt>
                <c:pt idx="823">
                  <c:v>1555.34</c:v>
                </c:pt>
                <c:pt idx="824">
                  <c:v>1602.48</c:v>
                </c:pt>
                <c:pt idx="825">
                  <c:v>1604.61</c:v>
                </c:pt>
                <c:pt idx="826">
                  <c:v>1635.51</c:v>
                </c:pt>
                <c:pt idx="827">
                  <c:v>1609.13</c:v>
                </c:pt>
                <c:pt idx="828">
                  <c:v>1563.82</c:v>
                </c:pt>
                <c:pt idx="829">
                  <c:v>1562.85</c:v>
                </c:pt>
                <c:pt idx="830">
                  <c:v>1543.7</c:v>
                </c:pt>
                <c:pt idx="831">
                  <c:v>1573.4</c:v>
                </c:pt>
                <c:pt idx="832">
                  <c:v>1563.14</c:v>
                </c:pt>
                <c:pt idx="833">
                  <c:v>1547.64</c:v>
                </c:pt>
                <c:pt idx="834">
                  <c:v>1583.52</c:v>
                </c:pt>
                <c:pt idx="835">
                  <c:v>1593.54</c:v>
                </c:pt>
                <c:pt idx="836">
                  <c:v>1581.07</c:v>
                </c:pt>
                <c:pt idx="837">
                  <c:v>1575.15</c:v>
                </c:pt>
                <c:pt idx="838">
                  <c:v>1564.99</c:v>
                </c:pt>
                <c:pt idx="839">
                  <c:v>1544.19</c:v>
                </c:pt>
                <c:pt idx="840">
                  <c:v>1568.87</c:v>
                </c:pt>
                <c:pt idx="841">
                  <c:v>1542.07</c:v>
                </c:pt>
                <c:pt idx="842">
                  <c:v>1516.22</c:v>
                </c:pt>
                <c:pt idx="843">
                  <c:v>1516.99</c:v>
                </c:pt>
                <c:pt idx="844">
                  <c:v>1536.73</c:v>
                </c:pt>
                <c:pt idx="845">
                  <c:v>1504.66</c:v>
                </c:pt>
                <c:pt idx="846">
                  <c:v>1516.42</c:v>
                </c:pt>
                <c:pt idx="847">
                  <c:v>1488.88</c:v>
                </c:pt>
                <c:pt idx="848">
                  <c:v>1463.66</c:v>
                </c:pt>
                <c:pt idx="849">
                  <c:v>1442.15</c:v>
                </c:pt>
                <c:pt idx="850">
                  <c:v>1400.42</c:v>
                </c:pt>
                <c:pt idx="851">
                  <c:v>1408.48</c:v>
                </c:pt>
                <c:pt idx="852">
                  <c:v>1452.89</c:v>
                </c:pt>
                <c:pt idx="853">
                  <c:v>1459.7</c:v>
                </c:pt>
                <c:pt idx="854">
                  <c:v>1427.25</c:v>
                </c:pt>
                <c:pt idx="855">
                  <c:v>1410.52</c:v>
                </c:pt>
                <c:pt idx="856">
                  <c:v>1405.46</c:v>
                </c:pt>
                <c:pt idx="857">
                  <c:v>1362.09</c:v>
                </c:pt>
                <c:pt idx="858">
                  <c:v>1372.96</c:v>
                </c:pt>
                <c:pt idx="859">
                  <c:v>1360.47</c:v>
                </c:pt>
                <c:pt idx="860">
                  <c:v>1356.12</c:v>
                </c:pt>
                <c:pt idx="861">
                  <c:v>1308.18</c:v>
                </c:pt>
                <c:pt idx="862">
                  <c:v>1344.05</c:v>
                </c:pt>
                <c:pt idx="863">
                  <c:v>1353.18</c:v>
                </c:pt>
                <c:pt idx="864">
                  <c:v>1357.31</c:v>
                </c:pt>
                <c:pt idx="865">
                  <c:v>1358.56</c:v>
                </c:pt>
                <c:pt idx="866">
                  <c:v>1356.45</c:v>
                </c:pt>
                <c:pt idx="867">
                  <c:v>1344.55</c:v>
                </c:pt>
                <c:pt idx="868">
                  <c:v>1339.85</c:v>
                </c:pt>
                <c:pt idx="869">
                  <c:v>1353.38</c:v>
                </c:pt>
                <c:pt idx="870">
                  <c:v>1354.45</c:v>
                </c:pt>
                <c:pt idx="871">
                  <c:v>1361.04</c:v>
                </c:pt>
                <c:pt idx="872">
                  <c:v>1342.81</c:v>
                </c:pt>
                <c:pt idx="873">
                  <c:v>1294.52</c:v>
                </c:pt>
                <c:pt idx="874">
                  <c:v>1263.1600000000001</c:v>
                </c:pt>
                <c:pt idx="875">
                  <c:v>1254.4000000000001</c:v>
                </c:pt>
                <c:pt idx="876">
                  <c:v>1245.98</c:v>
                </c:pt>
                <c:pt idx="877">
                  <c:v>1255.21</c:v>
                </c:pt>
                <c:pt idx="878">
                  <c:v>1262.3699999999999</c:v>
                </c:pt>
                <c:pt idx="879">
                  <c:v>1257.1400000000001</c:v>
                </c:pt>
                <c:pt idx="880">
                  <c:v>1241.48</c:v>
                </c:pt>
                <c:pt idx="881">
                  <c:v>1242.7</c:v>
                </c:pt>
                <c:pt idx="882">
                  <c:v>1213.82</c:v>
                </c:pt>
                <c:pt idx="883">
                  <c:v>1205.3499999999999</c:v>
                </c:pt>
                <c:pt idx="884">
                  <c:v>1224.81</c:v>
                </c:pt>
                <c:pt idx="885">
                  <c:v>1176.4100000000001</c:v>
                </c:pt>
                <c:pt idx="886">
                  <c:v>1162.53</c:v>
                </c:pt>
                <c:pt idx="887">
                  <c:v>1134.72</c:v>
                </c:pt>
                <c:pt idx="888">
                  <c:v>1148.8499999999999</c:v>
                </c:pt>
                <c:pt idx="889">
                  <c:v>1128.83</c:v>
                </c:pt>
                <c:pt idx="890">
                  <c:v>1128.49</c:v>
                </c:pt>
                <c:pt idx="891">
                  <c:v>1187.96</c:v>
                </c:pt>
                <c:pt idx="892">
                  <c:v>1190.83</c:v>
                </c:pt>
                <c:pt idx="893">
                  <c:v>1189.1300000000001</c:v>
                </c:pt>
                <c:pt idx="894">
                  <c:v>1163</c:v>
                </c:pt>
                <c:pt idx="895">
                  <c:v>1168.0899999999999</c:v>
                </c:pt>
                <c:pt idx="896">
                  <c:v>1162.97</c:v>
                </c:pt>
                <c:pt idx="897">
                  <c:v>1159.96</c:v>
                </c:pt>
                <c:pt idx="898">
                  <c:v>1206.5</c:v>
                </c:pt>
                <c:pt idx="899">
                  <c:v>1186.74</c:v>
                </c:pt>
                <c:pt idx="900">
                  <c:v>1161.8399999999999</c:v>
                </c:pt>
                <c:pt idx="901">
                  <c:v>1141.1500000000001</c:v>
                </c:pt>
                <c:pt idx="902">
                  <c:v>1191.2</c:v>
                </c:pt>
                <c:pt idx="903">
                  <c:v>1192.1199999999999</c:v>
                </c:pt>
                <c:pt idx="904">
                  <c:v>1183.56</c:v>
                </c:pt>
                <c:pt idx="905">
                  <c:v>1158.5899999999999</c:v>
                </c:pt>
                <c:pt idx="906">
                  <c:v>1150.9100000000001</c:v>
                </c:pt>
                <c:pt idx="907">
                  <c:v>1131.25</c:v>
                </c:pt>
                <c:pt idx="908">
                  <c:v>1125.6099999999999</c:v>
                </c:pt>
                <c:pt idx="909">
                  <c:v>1187.5</c:v>
                </c:pt>
                <c:pt idx="910">
                  <c:v>1231.19</c:v>
                </c:pt>
                <c:pt idx="911">
                  <c:v>1325.94</c:v>
                </c:pt>
                <c:pt idx="912">
                  <c:v>1307.24</c:v>
                </c:pt>
                <c:pt idx="913">
                  <c:v>1281.6600000000001</c:v>
                </c:pt>
                <c:pt idx="914">
                  <c:v>1246.97</c:v>
                </c:pt>
                <c:pt idx="915">
                  <c:v>1235.8800000000001</c:v>
                </c:pt>
                <c:pt idx="916">
                  <c:v>1269.98</c:v>
                </c:pt>
                <c:pt idx="917">
                  <c:v>1342.01</c:v>
                </c:pt>
                <c:pt idx="918">
                  <c:v>1358.12</c:v>
                </c:pt>
                <c:pt idx="919">
                  <c:v>1339.75</c:v>
                </c:pt>
                <c:pt idx="920">
                  <c:v>1331.31</c:v>
                </c:pt>
                <c:pt idx="921">
                  <c:v>1278.6600000000001</c:v>
                </c:pt>
                <c:pt idx="922">
                  <c:v>1284.83</c:v>
                </c:pt>
                <c:pt idx="923">
                  <c:v>1316.64</c:v>
                </c:pt>
                <c:pt idx="924">
                  <c:v>1343.52</c:v>
                </c:pt>
                <c:pt idx="925">
                  <c:v>1348.91</c:v>
                </c:pt>
                <c:pt idx="926">
                  <c:v>1340.52</c:v>
                </c:pt>
                <c:pt idx="927">
                  <c:v>1356.67</c:v>
                </c:pt>
                <c:pt idx="928">
                  <c:v>1341.86</c:v>
                </c:pt>
                <c:pt idx="929">
                  <c:v>1353.14</c:v>
                </c:pt>
                <c:pt idx="930">
                  <c:v>1339</c:v>
                </c:pt>
                <c:pt idx="931">
                  <c:v>1342.99</c:v>
                </c:pt>
                <c:pt idx="932">
                  <c:v>1364.9</c:v>
                </c:pt>
                <c:pt idx="933">
                  <c:v>1369.35</c:v>
                </c:pt>
                <c:pt idx="934">
                  <c:v>1376.56</c:v>
                </c:pt>
                <c:pt idx="935">
                  <c:v>1382.51</c:v>
                </c:pt>
                <c:pt idx="936">
                  <c:v>1406.89</c:v>
                </c:pt>
                <c:pt idx="937">
                  <c:v>1412.08</c:v>
                </c:pt>
                <c:pt idx="938">
                  <c:v>1386.44</c:v>
                </c:pt>
                <c:pt idx="939">
                  <c:v>1372.51</c:v>
                </c:pt>
                <c:pt idx="940">
                  <c:v>1358.77</c:v>
                </c:pt>
                <c:pt idx="941">
                  <c:v>1343.05</c:v>
                </c:pt>
                <c:pt idx="942">
                  <c:v>1330.09</c:v>
                </c:pt>
                <c:pt idx="943">
                  <c:v>1337.71</c:v>
                </c:pt>
                <c:pt idx="944">
                  <c:v>1327.17</c:v>
                </c:pt>
                <c:pt idx="945">
                  <c:v>1327.1</c:v>
                </c:pt>
                <c:pt idx="946">
                  <c:v>1322.35</c:v>
                </c:pt>
                <c:pt idx="947">
                  <c:v>1339.19</c:v>
                </c:pt>
                <c:pt idx="948">
                  <c:v>1325.14</c:v>
                </c:pt>
                <c:pt idx="949">
                  <c:v>1266.9000000000001</c:v>
                </c:pt>
                <c:pt idx="950">
                  <c:v>1240.49</c:v>
                </c:pt>
                <c:pt idx="951">
                  <c:v>1231.8800000000001</c:v>
                </c:pt>
                <c:pt idx="952">
                  <c:v>1204.81</c:v>
                </c:pt>
                <c:pt idx="953">
                  <c:v>1213.19</c:v>
                </c:pt>
                <c:pt idx="954">
                  <c:v>1215.97</c:v>
                </c:pt>
                <c:pt idx="955">
                  <c:v>1209.3499999999999</c:v>
                </c:pt>
                <c:pt idx="956">
                  <c:v>1199.94</c:v>
                </c:pt>
                <c:pt idx="957">
                  <c:v>1220.54</c:v>
                </c:pt>
                <c:pt idx="958">
                  <c:v>1260.2</c:v>
                </c:pt>
                <c:pt idx="959">
                  <c:v>1222.7</c:v>
                </c:pt>
                <c:pt idx="960">
                  <c:v>1186.1199999999999</c:v>
                </c:pt>
                <c:pt idx="961">
                  <c:v>1115.72</c:v>
                </c:pt>
                <c:pt idx="962">
                  <c:v>1111.29</c:v>
                </c:pt>
                <c:pt idx="963">
                  <c:v>1088.4000000000001</c:v>
                </c:pt>
                <c:pt idx="964">
                  <c:v>1071.44</c:v>
                </c:pt>
                <c:pt idx="965">
                  <c:v>1118.3499999999999</c:v>
                </c:pt>
                <c:pt idx="966">
                  <c:v>1111.44</c:v>
                </c:pt>
                <c:pt idx="967">
                  <c:v>1157.31</c:v>
                </c:pt>
                <c:pt idx="968">
                  <c:v>1163.26</c:v>
                </c:pt>
                <c:pt idx="969">
                  <c:v>1195.5899999999999</c:v>
                </c:pt>
                <c:pt idx="970">
                  <c:v>1203.31</c:v>
                </c:pt>
                <c:pt idx="971">
                  <c:v>1220.1400000000001</c:v>
                </c:pt>
                <c:pt idx="972">
                  <c:v>1203.57</c:v>
                </c:pt>
                <c:pt idx="973">
                  <c:v>1218.57</c:v>
                </c:pt>
                <c:pt idx="974">
                  <c:v>1244.46</c:v>
                </c:pt>
                <c:pt idx="975">
                  <c:v>1272.96</c:v>
                </c:pt>
                <c:pt idx="976">
                  <c:v>1281.74</c:v>
                </c:pt>
                <c:pt idx="977">
                  <c:v>1269.55</c:v>
                </c:pt>
                <c:pt idx="978">
                  <c:v>1254.92</c:v>
                </c:pt>
                <c:pt idx="979">
                  <c:v>1293.83</c:v>
                </c:pt>
                <c:pt idx="980">
                  <c:v>1289.05</c:v>
                </c:pt>
                <c:pt idx="981">
                  <c:v>1316.57</c:v>
                </c:pt>
                <c:pt idx="982">
                  <c:v>1323.58</c:v>
                </c:pt>
                <c:pt idx="983">
                  <c:v>1311.57</c:v>
                </c:pt>
                <c:pt idx="984">
                  <c:v>1281.05</c:v>
                </c:pt>
                <c:pt idx="985">
                  <c:v>1256.48</c:v>
                </c:pt>
                <c:pt idx="986">
                  <c:v>1183.8499999999999</c:v>
                </c:pt>
                <c:pt idx="987">
                  <c:v>1165.8900000000001</c:v>
                </c:pt>
                <c:pt idx="988">
                  <c:v>1188.8499999999999</c:v>
                </c:pt>
                <c:pt idx="989">
                  <c:v>1150.3900000000001</c:v>
                </c:pt>
                <c:pt idx="990">
                  <c:v>1187.51</c:v>
                </c:pt>
                <c:pt idx="991">
                  <c:v>1201.19</c:v>
                </c:pt>
                <c:pt idx="992">
                  <c:v>1222.3399999999999</c:v>
                </c:pt>
                <c:pt idx="993">
                  <c:v>1215.02</c:v>
                </c:pt>
                <c:pt idx="994">
                  <c:v>1233.8800000000001</c:v>
                </c:pt>
                <c:pt idx="995">
                  <c:v>1240.6500000000001</c:v>
                </c:pt>
                <c:pt idx="996">
                  <c:v>1261.23</c:v>
                </c:pt>
                <c:pt idx="997">
                  <c:v>1233.4000000000001</c:v>
                </c:pt>
                <c:pt idx="998">
                  <c:v>1199.72</c:v>
                </c:pt>
                <c:pt idx="999">
                  <c:v>1212.1500000000001</c:v>
                </c:pt>
                <c:pt idx="1000">
                  <c:v>1227.42</c:v>
                </c:pt>
                <c:pt idx="1001">
                  <c:v>1227.8699999999999</c:v>
                </c:pt>
                <c:pt idx="1002">
                  <c:v>1214.22</c:v>
                </c:pt>
                <c:pt idx="1003">
                  <c:v>1212.28</c:v>
                </c:pt>
                <c:pt idx="1004">
                  <c:v>1261.53</c:v>
                </c:pt>
                <c:pt idx="1005">
                  <c:v>1278.4100000000001</c:v>
                </c:pt>
                <c:pt idx="1006">
                  <c:v>1249.25</c:v>
                </c:pt>
                <c:pt idx="1007">
                  <c:v>1225.4000000000001</c:v>
                </c:pt>
                <c:pt idx="1008">
                  <c:v>1233.0899999999999</c:v>
                </c:pt>
                <c:pt idx="1009">
                  <c:v>1222.6199999999999</c:v>
                </c:pt>
                <c:pt idx="1010">
                  <c:v>1201.82</c:v>
                </c:pt>
                <c:pt idx="1011">
                  <c:v>1235.3800000000001</c:v>
                </c:pt>
                <c:pt idx="1012">
                  <c:v>1249.32</c:v>
                </c:pt>
                <c:pt idx="1013">
                  <c:v>1261.67</c:v>
                </c:pt>
                <c:pt idx="1014">
                  <c:v>1253.44</c:v>
                </c:pt>
                <c:pt idx="1015">
                  <c:v>1253.04</c:v>
                </c:pt>
                <c:pt idx="1016">
                  <c:v>1261.8599999999999</c:v>
                </c:pt>
                <c:pt idx="1017">
                  <c:v>1248.75</c:v>
                </c:pt>
                <c:pt idx="1018">
                  <c:v>1293.81</c:v>
                </c:pt>
                <c:pt idx="1019">
                  <c:v>1390.71</c:v>
                </c:pt>
                <c:pt idx="1020">
                  <c:v>1424.16</c:v>
                </c:pt>
                <c:pt idx="1021">
                  <c:v>1415.94</c:v>
                </c:pt>
                <c:pt idx="1022">
                  <c:v>1430.02</c:v>
                </c:pt>
                <c:pt idx="1023">
                  <c:v>1392.31</c:v>
                </c:pt>
                <c:pt idx="1024">
                  <c:v>1419.91</c:v>
                </c:pt>
                <c:pt idx="1025">
                  <c:v>1436.16</c:v>
                </c:pt>
                <c:pt idx="1026">
                  <c:v>1443.64</c:v>
                </c:pt>
                <c:pt idx="1027">
                  <c:v>1446.61</c:v>
                </c:pt>
                <c:pt idx="1028">
                  <c:v>1510.81</c:v>
                </c:pt>
                <c:pt idx="1029">
                  <c:v>1492.98</c:v>
                </c:pt>
                <c:pt idx="1030">
                  <c:v>1503.78</c:v>
                </c:pt>
                <c:pt idx="1031">
                  <c:v>1508.03</c:v>
                </c:pt>
                <c:pt idx="1032">
                  <c:v>1487.21</c:v>
                </c:pt>
                <c:pt idx="1033">
                  <c:v>1482.27</c:v>
                </c:pt>
                <c:pt idx="1034">
                  <c:v>1485.73</c:v>
                </c:pt>
                <c:pt idx="1035">
                  <c:v>1447.04</c:v>
                </c:pt>
                <c:pt idx="1036">
                  <c:v>1422.84</c:v>
                </c:pt>
                <c:pt idx="1037">
                  <c:v>1424.8</c:v>
                </c:pt>
                <c:pt idx="1038">
                  <c:v>1448.76</c:v>
                </c:pt>
                <c:pt idx="1039">
                  <c:v>1476.28</c:v>
                </c:pt>
                <c:pt idx="1040">
                  <c:v>1454.79</c:v>
                </c:pt>
                <c:pt idx="1041">
                  <c:v>1429.54</c:v>
                </c:pt>
                <c:pt idx="1042">
                  <c:v>1420.59</c:v>
                </c:pt>
                <c:pt idx="1043">
                  <c:v>1421.93</c:v>
                </c:pt>
                <c:pt idx="1044">
                  <c:v>1391.46</c:v>
                </c:pt>
                <c:pt idx="1045">
                  <c:v>1381.19</c:v>
                </c:pt>
                <c:pt idx="1046">
                  <c:v>1377.33</c:v>
                </c:pt>
                <c:pt idx="1047">
                  <c:v>1388.45</c:v>
                </c:pt>
                <c:pt idx="1048">
                  <c:v>1447.86</c:v>
                </c:pt>
                <c:pt idx="1049">
                  <c:v>1463.42</c:v>
                </c:pt>
                <c:pt idx="1050">
                  <c:v>1466.23</c:v>
                </c:pt>
                <c:pt idx="1051">
                  <c:v>1475.29</c:v>
                </c:pt>
                <c:pt idx="1052">
                  <c:v>1447.09</c:v>
                </c:pt>
                <c:pt idx="1053">
                  <c:v>1458.35</c:v>
                </c:pt>
                <c:pt idx="1054">
                  <c:v>1423.5</c:v>
                </c:pt>
                <c:pt idx="1055">
                  <c:v>1415.08</c:v>
                </c:pt>
                <c:pt idx="1056">
                  <c:v>1407.21</c:v>
                </c:pt>
                <c:pt idx="1057">
                  <c:v>1375.1</c:v>
                </c:pt>
                <c:pt idx="1058">
                  <c:v>1368.16</c:v>
                </c:pt>
                <c:pt idx="1059">
                  <c:v>1320.88</c:v>
                </c:pt>
                <c:pt idx="1060">
                  <c:v>1286.9000000000001</c:v>
                </c:pt>
                <c:pt idx="1061">
                  <c:v>1254.3399999999999</c:v>
                </c:pt>
                <c:pt idx="1062">
                  <c:v>1261.71</c:v>
                </c:pt>
                <c:pt idx="1063">
                  <c:v>1267.24</c:v>
                </c:pt>
                <c:pt idx="1064">
                  <c:v>1220.69</c:v>
                </c:pt>
                <c:pt idx="1065">
                  <c:v>1225.96</c:v>
                </c:pt>
                <c:pt idx="1066">
                  <c:v>1257.23</c:v>
                </c:pt>
                <c:pt idx="1067">
                  <c:v>1294.54</c:v>
                </c:pt>
                <c:pt idx="1068">
                  <c:v>1244.1500000000001</c:v>
                </c:pt>
                <c:pt idx="1069">
                  <c:v>1216.82</c:v>
                </c:pt>
                <c:pt idx="1070">
                  <c:v>1185.5899999999999</c:v>
                </c:pt>
                <c:pt idx="1071">
                  <c:v>1175.79</c:v>
                </c:pt>
                <c:pt idx="1072">
                  <c:v>1162.54</c:v>
                </c:pt>
                <c:pt idx="1073">
                  <c:v>1137.04</c:v>
                </c:pt>
                <c:pt idx="1074">
                  <c:v>1139.3</c:v>
                </c:pt>
                <c:pt idx="1075">
                  <c:v>1128.6300000000001</c:v>
                </c:pt>
                <c:pt idx="1076">
                  <c:v>1142.1099999999999</c:v>
                </c:pt>
                <c:pt idx="1077">
                  <c:v>1171.98</c:v>
                </c:pt>
                <c:pt idx="1078">
                  <c:v>1140.55</c:v>
                </c:pt>
                <c:pt idx="1079">
                  <c:v>1131.81</c:v>
                </c:pt>
                <c:pt idx="1080">
                  <c:v>1140</c:v>
                </c:pt>
                <c:pt idx="1081">
                  <c:v>1137.77</c:v>
                </c:pt>
                <c:pt idx="1082">
                  <c:v>1166.82</c:v>
                </c:pt>
                <c:pt idx="1083">
                  <c:v>1199.83</c:v>
                </c:pt>
                <c:pt idx="1084">
                  <c:v>1210.55</c:v>
                </c:pt>
                <c:pt idx="1085">
                  <c:v>1203.06</c:v>
                </c:pt>
                <c:pt idx="1086">
                  <c:v>1205.23</c:v>
                </c:pt>
                <c:pt idx="1087">
                  <c:v>1211.77</c:v>
                </c:pt>
                <c:pt idx="1088">
                  <c:v>1202.26</c:v>
                </c:pt>
                <c:pt idx="1089">
                  <c:v>1215.18</c:v>
                </c:pt>
                <c:pt idx="1090">
                  <c:v>1219.8900000000001</c:v>
                </c:pt>
                <c:pt idx="1091">
                  <c:v>1213.5999999999999</c:v>
                </c:pt>
                <c:pt idx="1092">
                  <c:v>1240.82</c:v>
                </c:pt>
                <c:pt idx="1093">
                  <c:v>1239.68</c:v>
                </c:pt>
                <c:pt idx="1094">
                  <c:v>1307.31</c:v>
                </c:pt>
                <c:pt idx="1095">
                  <c:v>1306.9100000000001</c:v>
                </c:pt>
                <c:pt idx="1096">
                  <c:v>1297.6400000000001</c:v>
                </c:pt>
                <c:pt idx="1097">
                  <c:v>1321.89</c:v>
                </c:pt>
                <c:pt idx="1098">
                  <c:v>1311.32</c:v>
                </c:pt>
                <c:pt idx="1099">
                  <c:v>1306.76</c:v>
                </c:pt>
                <c:pt idx="1100">
                  <c:v>1310.98</c:v>
                </c:pt>
                <c:pt idx="1101">
                  <c:v>1298.75</c:v>
                </c:pt>
                <c:pt idx="1102">
                  <c:v>1314.56</c:v>
                </c:pt>
                <c:pt idx="1103">
                  <c:v>1327.08</c:v>
                </c:pt>
                <c:pt idx="1104">
                  <c:v>1340.86</c:v>
                </c:pt>
                <c:pt idx="1105">
                  <c:v>1334.35</c:v>
                </c:pt>
                <c:pt idx="1106">
                  <c:v>1307.56</c:v>
                </c:pt>
                <c:pt idx="1107">
                  <c:v>1299.45</c:v>
                </c:pt>
                <c:pt idx="1108">
                  <c:v>1337.09</c:v>
                </c:pt>
                <c:pt idx="1109">
                  <c:v>1341.76</c:v>
                </c:pt>
                <c:pt idx="1110">
                  <c:v>1352.52</c:v>
                </c:pt>
                <c:pt idx="1111">
                  <c:v>1347.53</c:v>
                </c:pt>
                <c:pt idx="1112">
                  <c:v>1315.22</c:v>
                </c:pt>
                <c:pt idx="1113">
                  <c:v>1310.04</c:v>
                </c:pt>
                <c:pt idx="1114">
                  <c:v>1316.39</c:v>
                </c:pt>
                <c:pt idx="1115">
                  <c:v>1319.86</c:v>
                </c:pt>
                <c:pt idx="1116">
                  <c:v>1322.84</c:v>
                </c:pt>
                <c:pt idx="1117">
                  <c:v>1343.18</c:v>
                </c:pt>
                <c:pt idx="1118">
                  <c:v>1360.65</c:v>
                </c:pt>
                <c:pt idx="1119">
                  <c:v>1335.02</c:v>
                </c:pt>
                <c:pt idx="1120">
                  <c:v>1307.56</c:v>
                </c:pt>
                <c:pt idx="1121">
                  <c:v>1297.5899999999999</c:v>
                </c:pt>
                <c:pt idx="1122">
                  <c:v>1292.94</c:v>
                </c:pt>
                <c:pt idx="1123">
                  <c:v>1309.4100000000001</c:v>
                </c:pt>
                <c:pt idx="1124">
                  <c:v>1289.8399999999999</c:v>
                </c:pt>
                <c:pt idx="1125">
                  <c:v>1282.93</c:v>
                </c:pt>
                <c:pt idx="1126">
                  <c:v>1283.55</c:v>
                </c:pt>
                <c:pt idx="1127">
                  <c:v>1264.05</c:v>
                </c:pt>
                <c:pt idx="1128">
                  <c:v>1257.29</c:v>
                </c:pt>
                <c:pt idx="1129">
                  <c:v>1273.0899999999999</c:v>
                </c:pt>
                <c:pt idx="1130">
                  <c:v>1272.51</c:v>
                </c:pt>
                <c:pt idx="1131">
                  <c:v>1271.8399999999999</c:v>
                </c:pt>
                <c:pt idx="1132">
                  <c:v>1257.95</c:v>
                </c:pt>
                <c:pt idx="1133">
                  <c:v>1263.08</c:v>
                </c:pt>
                <c:pt idx="1134">
                  <c:v>1239.44</c:v>
                </c:pt>
                <c:pt idx="1135">
                  <c:v>1266.3800000000001</c:v>
                </c:pt>
                <c:pt idx="1136">
                  <c:v>1282.1300000000001</c:v>
                </c:pt>
                <c:pt idx="1137">
                  <c:v>1294.3900000000001</c:v>
                </c:pt>
                <c:pt idx="1138">
                  <c:v>1331.66</c:v>
                </c:pt>
                <c:pt idx="1139">
                  <c:v>1354.1</c:v>
                </c:pt>
                <c:pt idx="1140">
                  <c:v>1355.36</c:v>
                </c:pt>
                <c:pt idx="1141">
                  <c:v>1360.67</c:v>
                </c:pt>
                <c:pt idx="1142">
                  <c:v>1367.01</c:v>
                </c:pt>
                <c:pt idx="1143">
                  <c:v>1358.85</c:v>
                </c:pt>
                <c:pt idx="1144">
                  <c:v>1304.28</c:v>
                </c:pt>
                <c:pt idx="1145">
                  <c:v>1314.27</c:v>
                </c:pt>
                <c:pt idx="1146">
                  <c:v>1336.64</c:v>
                </c:pt>
                <c:pt idx="1147">
                  <c:v>1328.46</c:v>
                </c:pt>
                <c:pt idx="1148">
                  <c:v>1316.26</c:v>
                </c:pt>
                <c:pt idx="1149">
                  <c:v>1314.49</c:v>
                </c:pt>
                <c:pt idx="1150">
                  <c:v>1311.42</c:v>
                </c:pt>
                <c:pt idx="1151">
                  <c:v>1294.74</c:v>
                </c:pt>
                <c:pt idx="1152">
                  <c:v>1321.68</c:v>
                </c:pt>
                <c:pt idx="1153">
                  <c:v>1336.03</c:v>
                </c:pt>
                <c:pt idx="1154">
                  <c:v>1336.73</c:v>
                </c:pt>
                <c:pt idx="1155">
                  <c:v>1305.92</c:v>
                </c:pt>
                <c:pt idx="1156">
                  <c:v>1293.32</c:v>
                </c:pt>
                <c:pt idx="1157">
                  <c:v>1289.24</c:v>
                </c:pt>
                <c:pt idx="1158">
                  <c:v>1284.3800000000001</c:v>
                </c:pt>
                <c:pt idx="1159">
                  <c:v>1265.5999999999999</c:v>
                </c:pt>
                <c:pt idx="1160">
                  <c:v>1260</c:v>
                </c:pt>
                <c:pt idx="1161">
                  <c:v>1267.8699999999999</c:v>
                </c:pt>
                <c:pt idx="1162">
                  <c:v>1260.6400000000001</c:v>
                </c:pt>
                <c:pt idx="1163">
                  <c:v>1282.44</c:v>
                </c:pt>
                <c:pt idx="1164">
                  <c:v>1255.2</c:v>
                </c:pt>
                <c:pt idx="1165">
                  <c:v>1251.69</c:v>
                </c:pt>
                <c:pt idx="1166">
                  <c:v>1256.3599999999999</c:v>
                </c:pt>
                <c:pt idx="1167">
                  <c:v>1238.25</c:v>
                </c:pt>
                <c:pt idx="1168">
                  <c:v>1229.81</c:v>
                </c:pt>
                <c:pt idx="1169">
                  <c:v>1231.0999999999999</c:v>
                </c:pt>
                <c:pt idx="1170">
                  <c:v>1209.6099999999999</c:v>
                </c:pt>
                <c:pt idx="1171">
                  <c:v>1228.4000000000001</c:v>
                </c:pt>
                <c:pt idx="1172">
                  <c:v>1229.1199999999999</c:v>
                </c:pt>
                <c:pt idx="1173">
                  <c:v>1244.4000000000001</c:v>
                </c:pt>
                <c:pt idx="1174">
                  <c:v>1235.46</c:v>
                </c:pt>
                <c:pt idx="1175">
                  <c:v>1257.8800000000001</c:v>
                </c:pt>
                <c:pt idx="1176">
                  <c:v>1273.2</c:v>
                </c:pt>
                <c:pt idx="1177">
                  <c:v>1263.99</c:v>
                </c:pt>
                <c:pt idx="1178">
                  <c:v>1260.8499999999999</c:v>
                </c:pt>
                <c:pt idx="1179">
                  <c:v>1247.52</c:v>
                </c:pt>
                <c:pt idx="1180">
                  <c:v>1227.7</c:v>
                </c:pt>
                <c:pt idx="1181">
                  <c:v>1232.32</c:v>
                </c:pt>
                <c:pt idx="1182">
                  <c:v>1238.52</c:v>
                </c:pt>
                <c:pt idx="1183">
                  <c:v>1212.02</c:v>
                </c:pt>
                <c:pt idx="1184">
                  <c:v>1204.17</c:v>
                </c:pt>
                <c:pt idx="1185">
                  <c:v>1170.8900000000001</c:v>
                </c:pt>
                <c:pt idx="1186">
                  <c:v>1183.51</c:v>
                </c:pt>
                <c:pt idx="1187">
                  <c:v>1209.8499999999999</c:v>
                </c:pt>
                <c:pt idx="1188">
                  <c:v>1194.7</c:v>
                </c:pt>
                <c:pt idx="1189">
                  <c:v>1207.27</c:v>
                </c:pt>
                <c:pt idx="1190">
                  <c:v>1194.96</c:v>
                </c:pt>
                <c:pt idx="1191">
                  <c:v>1197.81</c:v>
                </c:pt>
                <c:pt idx="1192">
                  <c:v>1197.6600000000001</c:v>
                </c:pt>
                <c:pt idx="1193">
                  <c:v>1220.4000000000001</c:v>
                </c:pt>
                <c:pt idx="1194">
                  <c:v>1240.9100000000001</c:v>
                </c:pt>
                <c:pt idx="1195">
                  <c:v>1260.7</c:v>
                </c:pt>
                <c:pt idx="1196">
                  <c:v>1244.1199999999999</c:v>
                </c:pt>
                <c:pt idx="1197">
                  <c:v>1239.68</c:v>
                </c:pt>
                <c:pt idx="1198">
                  <c:v>1224.04</c:v>
                </c:pt>
                <c:pt idx="1199">
                  <c:v>1223.1500000000001</c:v>
                </c:pt>
                <c:pt idx="1200">
                  <c:v>1222.8800000000001</c:v>
                </c:pt>
                <c:pt idx="1201">
                  <c:v>1231.6099999999999</c:v>
                </c:pt>
                <c:pt idx="1202">
                  <c:v>1241.8599999999999</c:v>
                </c:pt>
                <c:pt idx="1203">
                  <c:v>1240.79</c:v>
                </c:pt>
                <c:pt idx="1204">
                  <c:v>1260.19</c:v>
                </c:pt>
                <c:pt idx="1205">
                  <c:v>1248.27</c:v>
                </c:pt>
                <c:pt idx="1206">
                  <c:v>1267.7</c:v>
                </c:pt>
                <c:pt idx="1207">
                  <c:v>1267.23</c:v>
                </c:pt>
                <c:pt idx="1208">
                  <c:v>1260.8</c:v>
                </c:pt>
                <c:pt idx="1209">
                  <c:v>1257.6400000000001</c:v>
                </c:pt>
                <c:pt idx="1210">
                  <c:v>1260.53</c:v>
                </c:pt>
                <c:pt idx="1211">
                  <c:v>1260.08</c:v>
                </c:pt>
                <c:pt idx="1212">
                  <c:v>1241.55</c:v>
                </c:pt>
                <c:pt idx="1213">
                  <c:v>1189.1099999999999</c:v>
                </c:pt>
                <c:pt idx="1214">
                  <c:v>1205.3699999999999</c:v>
                </c:pt>
                <c:pt idx="1215">
                  <c:v>1191.18</c:v>
                </c:pt>
                <c:pt idx="1216">
                  <c:v>1180.92</c:v>
                </c:pt>
                <c:pt idx="1217">
                  <c:v>1159.03</c:v>
                </c:pt>
                <c:pt idx="1218">
                  <c:v>1160.45</c:v>
                </c:pt>
                <c:pt idx="1219">
                  <c:v>1165.3800000000001</c:v>
                </c:pt>
                <c:pt idx="1220">
                  <c:v>1181.23</c:v>
                </c:pt>
                <c:pt idx="1221">
                  <c:v>1182.99</c:v>
                </c:pt>
                <c:pt idx="1222">
                  <c:v>1173.92</c:v>
                </c:pt>
                <c:pt idx="1223">
                  <c:v>1180.6199999999999</c:v>
                </c:pt>
                <c:pt idx="1224">
                  <c:v>1177.57</c:v>
                </c:pt>
                <c:pt idx="1225">
                  <c:v>1212.18</c:v>
                </c:pt>
                <c:pt idx="1226">
                  <c:v>1222.8800000000001</c:v>
                </c:pt>
                <c:pt idx="1227">
                  <c:v>1202.28</c:v>
                </c:pt>
                <c:pt idx="1228">
                  <c:v>1201.76</c:v>
                </c:pt>
                <c:pt idx="1229">
                  <c:v>1189.98</c:v>
                </c:pt>
                <c:pt idx="1230">
                  <c:v>1184.1600000000001</c:v>
                </c:pt>
                <c:pt idx="1231">
                  <c:v>1197.19</c:v>
                </c:pt>
                <c:pt idx="1232">
                  <c:v>1190.06</c:v>
                </c:pt>
                <c:pt idx="1233">
                  <c:v>1181.95</c:v>
                </c:pt>
                <c:pt idx="1234">
                  <c:v>1180.81</c:v>
                </c:pt>
                <c:pt idx="1235">
                  <c:v>1177.71</c:v>
                </c:pt>
                <c:pt idx="1236">
                  <c:v>1172.47</c:v>
                </c:pt>
                <c:pt idx="1237">
                  <c:v>1180.56</c:v>
                </c:pt>
                <c:pt idx="1238">
                  <c:v>1164.8499999999999</c:v>
                </c:pt>
                <c:pt idx="1239">
                  <c:v>1180.67</c:v>
                </c:pt>
                <c:pt idx="1240">
                  <c:v>1189.9100000000001</c:v>
                </c:pt>
                <c:pt idx="1241">
                  <c:v>1186.1400000000001</c:v>
                </c:pt>
                <c:pt idx="1242">
                  <c:v>1185.9100000000001</c:v>
                </c:pt>
                <c:pt idx="1243">
                  <c:v>1184.8699999999999</c:v>
                </c:pt>
                <c:pt idx="1244">
                  <c:v>1186.94</c:v>
                </c:pt>
                <c:pt idx="1245">
                  <c:v>1184.07</c:v>
                </c:pt>
                <c:pt idx="1246">
                  <c:v>1194.8599999999999</c:v>
                </c:pt>
                <c:pt idx="1247">
                  <c:v>1197.71</c:v>
                </c:pt>
                <c:pt idx="1248">
                  <c:v>1190.51</c:v>
                </c:pt>
                <c:pt idx="1249">
                  <c:v>1202.33</c:v>
                </c:pt>
                <c:pt idx="1250">
                  <c:v>1202.06</c:v>
                </c:pt>
                <c:pt idx="1251">
                  <c:v>1197.3499999999999</c:v>
                </c:pt>
                <c:pt idx="1252">
                  <c:v>1178.2</c:v>
                </c:pt>
                <c:pt idx="1253">
                  <c:v>1168.57</c:v>
                </c:pt>
                <c:pt idx="1254">
                  <c:v>1158.49</c:v>
                </c:pt>
                <c:pt idx="1255">
                  <c:v>1140.26</c:v>
                </c:pt>
                <c:pt idx="1256">
                  <c:v>1139.93</c:v>
                </c:pt>
                <c:pt idx="1257">
                  <c:v>1149.21</c:v>
                </c:pt>
                <c:pt idx="1258">
                  <c:v>1151.3699999999999</c:v>
                </c:pt>
                <c:pt idx="1259">
                  <c:v>1147.81</c:v>
                </c:pt>
                <c:pt idx="1260">
                  <c:v>1172.31</c:v>
                </c:pt>
                <c:pt idx="1261">
                  <c:v>1176.8900000000001</c:v>
                </c:pt>
                <c:pt idx="1262">
                  <c:v>1175.46</c:v>
                </c:pt>
                <c:pt idx="1263">
                  <c:v>1158.6500000000001</c:v>
                </c:pt>
                <c:pt idx="1264">
                  <c:v>1131.92</c:v>
                </c:pt>
                <c:pt idx="1265">
                  <c:v>1142.53</c:v>
                </c:pt>
                <c:pt idx="1266">
                  <c:v>1156.19</c:v>
                </c:pt>
                <c:pt idx="1267">
                  <c:v>1161.31</c:v>
                </c:pt>
                <c:pt idx="1268">
                  <c:v>1186.8</c:v>
                </c:pt>
                <c:pt idx="1269">
                  <c:v>1204.6199999999999</c:v>
                </c:pt>
                <c:pt idx="1270">
                  <c:v>1190.8699999999999</c:v>
                </c:pt>
                <c:pt idx="1271">
                  <c:v>1213.8800000000001</c:v>
                </c:pt>
                <c:pt idx="1272">
                  <c:v>1206.5999999999999</c:v>
                </c:pt>
                <c:pt idx="1273">
                  <c:v>1210.77</c:v>
                </c:pt>
                <c:pt idx="1274">
                  <c:v>1198.1400000000001</c:v>
                </c:pt>
                <c:pt idx="1275">
                  <c:v>1196.07</c:v>
                </c:pt>
                <c:pt idx="1276">
                  <c:v>1193.52</c:v>
                </c:pt>
                <c:pt idx="1277">
                  <c:v>1195.23</c:v>
                </c:pt>
                <c:pt idx="1278">
                  <c:v>1186.3800000000001</c:v>
                </c:pt>
                <c:pt idx="1279">
                  <c:v>1165.1600000000001</c:v>
                </c:pt>
                <c:pt idx="1280">
                  <c:v>1158.45</c:v>
                </c:pt>
                <c:pt idx="1281">
                  <c:v>1165.3499999999999</c:v>
                </c:pt>
                <c:pt idx="1282">
                  <c:v>1151.44</c:v>
                </c:pt>
                <c:pt idx="1283">
                  <c:v>1104.29</c:v>
                </c:pt>
                <c:pt idx="1284">
                  <c:v>1098.3900000000001</c:v>
                </c:pt>
                <c:pt idx="1285">
                  <c:v>1093.95</c:v>
                </c:pt>
                <c:pt idx="1286">
                  <c:v>1085.26</c:v>
                </c:pt>
                <c:pt idx="1287">
                  <c:v>1081.92</c:v>
                </c:pt>
                <c:pt idx="1288">
                  <c:v>1093.92</c:v>
                </c:pt>
                <c:pt idx="1289">
                  <c:v>1084.67</c:v>
                </c:pt>
                <c:pt idx="1290">
                  <c:v>1075.99</c:v>
                </c:pt>
                <c:pt idx="1291">
                  <c:v>1073.3800000000001</c:v>
                </c:pt>
                <c:pt idx="1292">
                  <c:v>1045.8599999999999</c:v>
                </c:pt>
                <c:pt idx="1293">
                  <c:v>1033.43</c:v>
                </c:pt>
                <c:pt idx="1294">
                  <c:v>1019.1</c:v>
                </c:pt>
                <c:pt idx="1295">
                  <c:v>1017.16</c:v>
                </c:pt>
                <c:pt idx="1296">
                  <c:v>1013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F5-4A20-9090-5F16DC8144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2803936"/>
        <c:axId val="732804264"/>
      </c:areaChart>
      <c:dateAx>
        <c:axId val="73280393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S"/>
          </a:p>
        </c:txPr>
        <c:crossAx val="732804264"/>
        <c:crosses val="autoZero"/>
        <c:auto val="1"/>
        <c:lblOffset val="100"/>
        <c:baseTimeUnit val="days"/>
      </c:dateAx>
      <c:valAx>
        <c:axId val="732804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S"/>
          </a:p>
        </c:txPr>
        <c:crossAx val="7328039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solidFill>
        <a:schemeClr val="accent3">
          <a:lumMod val="50000"/>
        </a:schemeClr>
      </a:solidFill>
    </a:ln>
    <a:effectLst/>
  </c:spPr>
  <c:txPr>
    <a:bodyPr/>
    <a:lstStyle/>
    <a:p>
      <a:pPr>
        <a:defRPr/>
      </a:pPr>
      <a:endParaRPr lang="es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3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UY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65543" y="0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2C45C8-A508-4456-9ACD-731120C8EB94}" type="datetimeFigureOut">
              <a:rPr lang="es-UY" smtClean="0"/>
              <a:t>23/8/2023</a:t>
            </a:fld>
            <a:endParaRPr lang="es-UY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1" y="8766637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UY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65543" y="8766637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317432-D8A3-42DB-AC84-28E7A5D02D06}" type="slidenum">
              <a:rPr lang="es-UY" smtClean="0"/>
              <a:t>‹Nº›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993018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UY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65543" y="0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6372E0-7583-4D30-9C26-2F786A9D419E}" type="datetimeFigureOut">
              <a:rPr lang="es-UY" smtClean="0"/>
              <a:t>23/8/2023</a:t>
            </a:fld>
            <a:endParaRPr lang="es-UY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692150"/>
            <a:ext cx="6153150" cy="3460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UY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0088" y="4384120"/>
            <a:ext cx="5600700" cy="415337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8766637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UY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65543" y="8766637"/>
            <a:ext cx="3033712" cy="4614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8B5F02-2DB2-4A2B-9418-45C49F24F799}" type="slidenum">
              <a:rPr lang="es-UY" smtClean="0"/>
              <a:t>‹Nº›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3182209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47147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94322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041505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388670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1735861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082991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2430190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2777367" algn="l" defTabSz="6943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 /><Relationship Id="rId1" Type="http://schemas.openxmlformats.org/officeDocument/2006/relationships/notesMaster" Target="../notesMasters/notesMaster1.xml" 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 /><Relationship Id="rId1" Type="http://schemas.openxmlformats.org/officeDocument/2006/relationships/notesMaster" Target="../notesMasters/notesMaster1.xml" 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 /><Relationship Id="rId1" Type="http://schemas.openxmlformats.org/officeDocument/2006/relationships/notesMaster" Target="../notesMasters/notesMaster1.xml" 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 /><Relationship Id="rId1" Type="http://schemas.openxmlformats.org/officeDocument/2006/relationships/notesMaster" Target="../notesMasters/notesMaster1.xml" 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 /><Relationship Id="rId1" Type="http://schemas.openxmlformats.org/officeDocument/2006/relationships/notesMaster" Target="../notesMasters/notesMaster1.xml" 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 /><Relationship Id="rId1" Type="http://schemas.openxmlformats.org/officeDocument/2006/relationships/notesMaster" Target="../notesMasters/notesMaster1.xml" 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B356C7-4017-44B7-A0AA-E4DF17C7A5C5}" type="slidenum">
              <a:rPr lang="es-UY" smtClean="0"/>
              <a:t>3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37433320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22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1696636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25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4698361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26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7122539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30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6038581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31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105266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B356C7-4017-44B7-A0AA-E4DF17C7A5C5}" type="slidenum">
              <a:rPr lang="es-UY" smtClean="0"/>
              <a:t>5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3945160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13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33563350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14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35356103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15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665348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B356C7-4017-44B7-A0AA-E4DF17C7A5C5}" type="slidenum">
              <a:rPr lang="es-UY" smtClean="0"/>
              <a:t>16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7085040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18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896212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19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3294996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Y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B5F02-2DB2-4A2B-9418-45C49F24F799}" type="slidenum">
              <a:rPr lang="es-UY" smtClean="0"/>
              <a:t>20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4028684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aga clic para modificar el estilo de título del patrón</a:t>
            </a:r>
            <a:endParaRPr lang="es-UY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7" name="Marcador de fecha 3">
            <a:extLst>
              <a:ext uri="{FF2B5EF4-FFF2-40B4-BE49-F238E27FC236}">
                <a16:creationId xmlns:a16="http://schemas.microsoft.com/office/drawing/2014/main" id="{A0EDBA35-0369-4648-A2BE-6E5C56861C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/>
              <a:t>Julio 2023</a:t>
            </a:r>
            <a:endParaRPr lang="es-UY" dirty="0"/>
          </a:p>
        </p:txBody>
      </p:sp>
      <p:sp>
        <p:nvSpPr>
          <p:cNvPr id="8" name="Marcador de pie de página 4">
            <a:extLst>
              <a:ext uri="{FF2B5EF4-FFF2-40B4-BE49-F238E27FC236}">
                <a16:creationId xmlns:a16="http://schemas.microsoft.com/office/drawing/2014/main" id="{0E5BED7A-822B-4483-B1E3-49A0E7F763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11" b="1">
                <a:solidFill>
                  <a:schemeClr val="tx1">
                    <a:tint val="75000"/>
                  </a:schemeClr>
                </a:solidFill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r>
              <a:rPr lang="es-UY"/>
              <a:t>#TransiciónResponsable</a:t>
            </a:r>
            <a:endParaRPr lang="es-UY" dirty="0"/>
          </a:p>
        </p:txBody>
      </p:sp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A38FB77D-7705-46CC-B1FD-2D46850BC8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D57B79-4061-44BD-B534-85CA2EB6D39E}" type="slidenum">
              <a:rPr lang="es-UY" smtClean="0"/>
              <a:t>‹Nº›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0643840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fecha 3">
            <a:extLst>
              <a:ext uri="{FF2B5EF4-FFF2-40B4-BE49-F238E27FC236}">
                <a16:creationId xmlns:a16="http://schemas.microsoft.com/office/drawing/2014/main" id="{F74EA783-6B1F-4ADD-99F8-1F4C723248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/>
              <a:t>Julio 2023</a:t>
            </a:r>
            <a:endParaRPr lang="es-UY" dirty="0"/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C289C7CA-01AF-46E5-8972-EA73BE3F6B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11" b="1">
                <a:solidFill>
                  <a:schemeClr val="tx1">
                    <a:tint val="75000"/>
                  </a:schemeClr>
                </a:solidFill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r>
              <a:rPr lang="es-UY"/>
              <a:t>#TransiciónResponsable</a:t>
            </a:r>
            <a:endParaRPr lang="es-UY" dirty="0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647EA6D2-8082-4769-80F9-11F64E7E8C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D57B79-4061-44BD-B534-85CA2EB6D39E}" type="slidenum">
              <a:rPr lang="es-UY" smtClean="0"/>
              <a:t>‹Nº›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6062710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915471" y="1993819"/>
            <a:ext cx="5659279" cy="47522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741200" y="1993819"/>
            <a:ext cx="5659279" cy="4752225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C2DE7-5856-4DE2-9E5C-2B2E0EF67A81}" type="datetime1">
              <a:rPr lang="es-UY" smtClean="0"/>
              <a:t>23/8/2023</a:t>
            </a:fld>
            <a:endParaRPr lang="es-UY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Expo Uruguay Sostenible 2023 - 9 de junio de 2023 </a:t>
            </a:r>
            <a:endParaRPr lang="es-UY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D57B79-4061-44BD-B534-85CA2EB6D39E}" type="slidenum">
              <a:rPr lang="es-UY" smtClean="0"/>
              <a:t>‹Nº›</a:t>
            </a:fld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6259347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 /><Relationship Id="rId3" Type="http://schemas.openxmlformats.org/officeDocument/2006/relationships/slideLayout" Target="../slideLayouts/slideLayout3.xml" /><Relationship Id="rId7" Type="http://schemas.openxmlformats.org/officeDocument/2006/relationships/tags" Target="../tags/tag3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tags" Target="../tags/tag2.xml" /><Relationship Id="rId5" Type="http://schemas.openxmlformats.org/officeDocument/2006/relationships/vmlDrawing" Target="../drawings/vmlDrawing1.vml" /><Relationship Id="rId4" Type="http://schemas.openxmlformats.org/officeDocument/2006/relationships/theme" Target="../theme/theme1.xml" /><Relationship Id="rId9" Type="http://schemas.openxmlformats.org/officeDocument/2006/relationships/image" Target="../media/image1.emf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Diapositiva de think-cell" r:id="rId8" imgW="493" imgH="493" progId="TCLayout.ActiveDocument.1">
                  <p:embed/>
                </p:oleObj>
              </mc:Choice>
              <mc:Fallback>
                <p:oleObj name="Diapositiva de think-cell" r:id="rId8" imgW="493" imgH="49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805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915472" y="398764"/>
            <a:ext cx="11485007" cy="1447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UY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915472" y="1993819"/>
            <a:ext cx="11485007" cy="4752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UY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/>
              <a:t>Julio 2023</a:t>
            </a:r>
            <a:endParaRPr lang="es-UY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11" b="1">
                <a:solidFill>
                  <a:schemeClr val="tx1">
                    <a:tint val="75000"/>
                  </a:schemeClr>
                </a:solidFill>
                <a:latin typeface="72 Black" panose="020B0A04030603020204" pitchFamily="34" charset="0"/>
                <a:cs typeface="72 Black" panose="020B0A04030603020204" pitchFamily="34" charset="0"/>
              </a:defRPr>
            </a:lvl1pPr>
          </a:lstStyle>
          <a:p>
            <a:r>
              <a:rPr lang="es-UY"/>
              <a:t>#TransiciónResponsable</a:t>
            </a:r>
            <a:endParaRPr lang="es-UY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D57B79-4061-44BD-B534-85CA2EB6D39E}" type="slidenum">
              <a:rPr lang="es-UY" smtClean="0"/>
              <a:t>‹Nº›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047964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1" r:id="rId1"/>
    <p:sldLayoutId id="2147485426" r:id="rId2"/>
    <p:sldLayoutId id="2147485427" r:id="rId3"/>
  </p:sldLayoutIdLst>
  <p:hf hdr="0"/>
  <p:txStyles>
    <p:titleStyle>
      <a:lvl1pPr algn="l" defTabSz="998616" rtl="0" eaLnBrk="1" latinLnBrk="0" hangingPunct="1">
        <a:lnSpc>
          <a:spcPct val="90000"/>
        </a:lnSpc>
        <a:spcBef>
          <a:spcPct val="0"/>
        </a:spcBef>
        <a:buNone/>
        <a:defRPr sz="480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9654" indent="-249654" algn="l" defTabSz="998616" rtl="0" eaLnBrk="1" latinLnBrk="0" hangingPunct="1">
        <a:lnSpc>
          <a:spcPct val="90000"/>
        </a:lnSpc>
        <a:spcBef>
          <a:spcPts val="1092"/>
        </a:spcBef>
        <a:buFont typeface="Arial" panose="020B0604020202020204" pitchFamily="34" charset="0"/>
        <a:buChar char="•"/>
        <a:defRPr sz="3058" kern="1200">
          <a:solidFill>
            <a:schemeClr val="tx1"/>
          </a:solidFill>
          <a:latin typeface="+mn-lt"/>
          <a:ea typeface="+mn-ea"/>
          <a:cs typeface="+mn-cs"/>
        </a:defRPr>
      </a:lvl1pPr>
      <a:lvl2pPr marL="748962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2621" kern="1200">
          <a:solidFill>
            <a:schemeClr val="tx1"/>
          </a:solidFill>
          <a:latin typeface="+mn-lt"/>
          <a:ea typeface="+mn-ea"/>
          <a:cs typeface="+mn-cs"/>
        </a:defRPr>
      </a:lvl2pPr>
      <a:lvl3pPr marL="1248270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2184" kern="1200">
          <a:solidFill>
            <a:schemeClr val="tx1"/>
          </a:solidFill>
          <a:latin typeface="+mn-lt"/>
          <a:ea typeface="+mn-ea"/>
          <a:cs typeface="+mn-cs"/>
        </a:defRPr>
      </a:lvl3pPr>
      <a:lvl4pPr marL="1747578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4pPr>
      <a:lvl5pPr marL="2246887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5pPr>
      <a:lvl6pPr marL="2746195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6pPr>
      <a:lvl7pPr marL="3245503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7pPr>
      <a:lvl8pPr marL="3744811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8pPr>
      <a:lvl9pPr marL="4244119" indent="-249654" algn="l" defTabSz="998616" rtl="0" eaLnBrk="1" latinLnBrk="0" hangingPunct="1">
        <a:lnSpc>
          <a:spcPct val="90000"/>
        </a:lnSpc>
        <a:spcBef>
          <a:spcPts val="546"/>
        </a:spcBef>
        <a:buFont typeface="Arial" panose="020B0604020202020204" pitchFamily="34" charset="0"/>
        <a:buChar char="•"/>
        <a:defRPr sz="19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UY"/>
      </a:defPPr>
      <a:lvl1pPr marL="0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1pPr>
      <a:lvl2pPr marL="499308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2pPr>
      <a:lvl3pPr marL="998616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3pPr>
      <a:lvl4pPr marL="1497924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4pPr>
      <a:lvl5pPr marL="1997232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5pPr>
      <a:lvl6pPr marL="2496541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6pPr>
      <a:lvl7pPr marL="2995849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7pPr>
      <a:lvl8pPr marL="3495157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8pPr>
      <a:lvl9pPr marL="3994465" algn="l" defTabSz="998616" rtl="0" eaLnBrk="1" latinLnBrk="0" hangingPunct="1">
        <a:defRPr sz="19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 /><Relationship Id="rId2" Type="http://schemas.openxmlformats.org/officeDocument/2006/relationships/tags" Target="../tags/tag4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2.emf" /><Relationship Id="rId5" Type="http://schemas.openxmlformats.org/officeDocument/2006/relationships/oleObject" Target="../embeddings/oleObject2.bin" /><Relationship Id="rId4" Type="http://schemas.openxmlformats.org/officeDocument/2006/relationships/image" Target="../media/image3.png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 /><Relationship Id="rId3" Type="http://schemas.openxmlformats.org/officeDocument/2006/relationships/tags" Target="../tags/tag13.xml" /><Relationship Id="rId7" Type="http://schemas.openxmlformats.org/officeDocument/2006/relationships/image" Target="../media/image2.emf" /><Relationship Id="rId2" Type="http://schemas.openxmlformats.org/officeDocument/2006/relationships/vmlDrawing" Target="../drawings/vmlDrawing9.vml" /><Relationship Id="rId1" Type="http://schemas.openxmlformats.org/officeDocument/2006/relationships/themeOverride" Target="../theme/themeOverride9.xml" /><Relationship Id="rId6" Type="http://schemas.openxmlformats.org/officeDocument/2006/relationships/oleObject" Target="../embeddings/oleObject9.bin" /><Relationship Id="rId5" Type="http://schemas.openxmlformats.org/officeDocument/2006/relationships/image" Target="../media/image4.png" /><Relationship Id="rId4" Type="http://schemas.openxmlformats.org/officeDocument/2006/relationships/slideLayout" Target="../slideLayouts/slideLayout1.xml" /><Relationship Id="rId9" Type="http://schemas.openxmlformats.org/officeDocument/2006/relationships/chart" Target="../charts/chart2.xml" 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 /><Relationship Id="rId13" Type="http://schemas.openxmlformats.org/officeDocument/2006/relationships/image" Target="../media/image31.png" /><Relationship Id="rId3" Type="http://schemas.openxmlformats.org/officeDocument/2006/relationships/tags" Target="../tags/tag14.xml" /><Relationship Id="rId7" Type="http://schemas.openxmlformats.org/officeDocument/2006/relationships/image" Target="../media/image2.emf" /><Relationship Id="rId12" Type="http://schemas.openxmlformats.org/officeDocument/2006/relationships/image" Target="../media/image30.png" /><Relationship Id="rId2" Type="http://schemas.openxmlformats.org/officeDocument/2006/relationships/vmlDrawing" Target="../drawings/vmlDrawing10.vml" /><Relationship Id="rId16" Type="http://schemas.openxmlformats.org/officeDocument/2006/relationships/image" Target="../media/image34.png" /><Relationship Id="rId1" Type="http://schemas.openxmlformats.org/officeDocument/2006/relationships/themeOverride" Target="../theme/themeOverride10.xml" /><Relationship Id="rId6" Type="http://schemas.openxmlformats.org/officeDocument/2006/relationships/oleObject" Target="../embeddings/oleObject10.bin" /><Relationship Id="rId11" Type="http://schemas.openxmlformats.org/officeDocument/2006/relationships/image" Target="../media/image29.png" /><Relationship Id="rId5" Type="http://schemas.openxmlformats.org/officeDocument/2006/relationships/image" Target="../media/image4.png" /><Relationship Id="rId15" Type="http://schemas.openxmlformats.org/officeDocument/2006/relationships/image" Target="../media/image33.png" /><Relationship Id="rId10" Type="http://schemas.openxmlformats.org/officeDocument/2006/relationships/image" Target="../media/image28.png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27.png" /><Relationship Id="rId14" Type="http://schemas.openxmlformats.org/officeDocument/2006/relationships/image" Target="../media/image32.png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slideLayout" Target="../slideLayouts/slideLayout1.xml" /><Relationship Id="rId1" Type="http://schemas.openxmlformats.org/officeDocument/2006/relationships/themeOverride" Target="../theme/themeOverride11.xml" 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 /><Relationship Id="rId13" Type="http://schemas.openxmlformats.org/officeDocument/2006/relationships/image" Target="../media/image38.jpeg" /><Relationship Id="rId3" Type="http://schemas.openxmlformats.org/officeDocument/2006/relationships/tags" Target="../tags/tag15.xml" /><Relationship Id="rId7" Type="http://schemas.openxmlformats.org/officeDocument/2006/relationships/image" Target="../media/image4.png" /><Relationship Id="rId12" Type="http://schemas.openxmlformats.org/officeDocument/2006/relationships/image" Target="../media/image37.jfif" /><Relationship Id="rId2" Type="http://schemas.openxmlformats.org/officeDocument/2006/relationships/vmlDrawing" Target="../drawings/vmlDrawing11.vml" /><Relationship Id="rId1" Type="http://schemas.openxmlformats.org/officeDocument/2006/relationships/themeOverride" Target="../theme/themeOverride12.xml" /><Relationship Id="rId6" Type="http://schemas.openxmlformats.org/officeDocument/2006/relationships/notesSlide" Target="../notesSlides/notesSlide3.xml" /><Relationship Id="rId11" Type="http://schemas.openxmlformats.org/officeDocument/2006/relationships/image" Target="../media/image36.jfif" /><Relationship Id="rId5" Type="http://schemas.openxmlformats.org/officeDocument/2006/relationships/slideLayout" Target="../slideLayouts/slideLayout1.xml" /><Relationship Id="rId10" Type="http://schemas.openxmlformats.org/officeDocument/2006/relationships/image" Target="../media/image35.jpeg" /><Relationship Id="rId4" Type="http://schemas.openxmlformats.org/officeDocument/2006/relationships/tags" Target="../tags/tag16.xml" /><Relationship Id="rId9" Type="http://schemas.openxmlformats.org/officeDocument/2006/relationships/image" Target="../media/image1.emf" 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 /><Relationship Id="rId13" Type="http://schemas.openxmlformats.org/officeDocument/2006/relationships/image" Target="../media/image38.jpeg" /><Relationship Id="rId3" Type="http://schemas.openxmlformats.org/officeDocument/2006/relationships/tags" Target="../tags/tag17.xml" /><Relationship Id="rId7" Type="http://schemas.openxmlformats.org/officeDocument/2006/relationships/image" Target="../media/image4.png" /><Relationship Id="rId12" Type="http://schemas.openxmlformats.org/officeDocument/2006/relationships/image" Target="../media/image37.jfif" /><Relationship Id="rId2" Type="http://schemas.openxmlformats.org/officeDocument/2006/relationships/vmlDrawing" Target="../drawings/vmlDrawing12.vml" /><Relationship Id="rId1" Type="http://schemas.openxmlformats.org/officeDocument/2006/relationships/themeOverride" Target="../theme/themeOverride13.xml" /><Relationship Id="rId6" Type="http://schemas.openxmlformats.org/officeDocument/2006/relationships/notesSlide" Target="../notesSlides/notesSlide4.xml" /><Relationship Id="rId11" Type="http://schemas.openxmlformats.org/officeDocument/2006/relationships/image" Target="../media/image36.jfif" /><Relationship Id="rId5" Type="http://schemas.openxmlformats.org/officeDocument/2006/relationships/slideLayout" Target="../slideLayouts/slideLayout1.xml" /><Relationship Id="rId10" Type="http://schemas.openxmlformats.org/officeDocument/2006/relationships/image" Target="../media/image35.jpeg" /><Relationship Id="rId4" Type="http://schemas.openxmlformats.org/officeDocument/2006/relationships/tags" Target="../tags/tag18.xml" /><Relationship Id="rId9" Type="http://schemas.openxmlformats.org/officeDocument/2006/relationships/image" Target="../media/image1.emf" 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 /><Relationship Id="rId13" Type="http://schemas.openxmlformats.org/officeDocument/2006/relationships/image" Target="../media/image42.png" /><Relationship Id="rId3" Type="http://schemas.openxmlformats.org/officeDocument/2006/relationships/tags" Target="../tags/tag19.xml" /><Relationship Id="rId7" Type="http://schemas.openxmlformats.org/officeDocument/2006/relationships/image" Target="../media/image4.png" /><Relationship Id="rId12" Type="http://schemas.openxmlformats.org/officeDocument/2006/relationships/image" Target="../media/image41.png" /><Relationship Id="rId17" Type="http://schemas.openxmlformats.org/officeDocument/2006/relationships/image" Target="../media/image35.jpeg" /><Relationship Id="rId2" Type="http://schemas.openxmlformats.org/officeDocument/2006/relationships/vmlDrawing" Target="../drawings/vmlDrawing13.vml" /><Relationship Id="rId16" Type="http://schemas.openxmlformats.org/officeDocument/2006/relationships/image" Target="../media/image45.png" /><Relationship Id="rId1" Type="http://schemas.openxmlformats.org/officeDocument/2006/relationships/themeOverride" Target="../theme/themeOverride14.xml" /><Relationship Id="rId6" Type="http://schemas.openxmlformats.org/officeDocument/2006/relationships/notesSlide" Target="../notesSlides/notesSlide5.xml" /><Relationship Id="rId11" Type="http://schemas.openxmlformats.org/officeDocument/2006/relationships/image" Target="../media/image40.png" /><Relationship Id="rId5" Type="http://schemas.openxmlformats.org/officeDocument/2006/relationships/slideLayout" Target="../slideLayouts/slideLayout1.xml" /><Relationship Id="rId15" Type="http://schemas.openxmlformats.org/officeDocument/2006/relationships/image" Target="../media/image44.png" /><Relationship Id="rId10" Type="http://schemas.openxmlformats.org/officeDocument/2006/relationships/image" Target="../media/image39.png" /><Relationship Id="rId4" Type="http://schemas.openxmlformats.org/officeDocument/2006/relationships/tags" Target="../tags/tag20.xml" /><Relationship Id="rId9" Type="http://schemas.openxmlformats.org/officeDocument/2006/relationships/image" Target="../media/image1.emf" /><Relationship Id="rId14" Type="http://schemas.openxmlformats.org/officeDocument/2006/relationships/image" Target="../media/image43.png" 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 /><Relationship Id="rId3" Type="http://schemas.openxmlformats.org/officeDocument/2006/relationships/notesSlide" Target="../notesSlides/notesSlide6.xml" /><Relationship Id="rId7" Type="http://schemas.openxmlformats.org/officeDocument/2006/relationships/image" Target="../media/image47.jpeg" /><Relationship Id="rId2" Type="http://schemas.openxmlformats.org/officeDocument/2006/relationships/slideLayout" Target="../slideLayouts/slideLayout1.xml" /><Relationship Id="rId1" Type="http://schemas.openxmlformats.org/officeDocument/2006/relationships/themeOverride" Target="../theme/themeOverride15.xml" /><Relationship Id="rId6" Type="http://schemas.openxmlformats.org/officeDocument/2006/relationships/hyperlink" Target="https://assets.geoexpro.com/uploads/bb70b3ea-2e18-4a36-8064-8bdbf41ded86/GeoExPro_04-2022_FINAL_4web.pdf" TargetMode="External" /><Relationship Id="rId5" Type="http://schemas.openxmlformats.org/officeDocument/2006/relationships/image" Target="../media/image46.jpeg" /><Relationship Id="rId4" Type="http://schemas.openxmlformats.org/officeDocument/2006/relationships/image" Target="../media/image4.png" /><Relationship Id="rId9" Type="http://schemas.openxmlformats.org/officeDocument/2006/relationships/image" Target="../media/image49.jpeg" 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 /><Relationship Id="rId13" Type="http://schemas.openxmlformats.org/officeDocument/2006/relationships/image" Target="../media/image54.png" /><Relationship Id="rId18" Type="http://schemas.openxmlformats.org/officeDocument/2006/relationships/image" Target="../media/image58.png" /><Relationship Id="rId3" Type="http://schemas.openxmlformats.org/officeDocument/2006/relationships/tags" Target="../tags/tag21.xml" /><Relationship Id="rId7" Type="http://schemas.openxmlformats.org/officeDocument/2006/relationships/oleObject" Target="../embeddings/oleObject14.bin" /><Relationship Id="rId12" Type="http://schemas.openxmlformats.org/officeDocument/2006/relationships/image" Target="../media/image53.png" /><Relationship Id="rId17" Type="http://schemas.openxmlformats.org/officeDocument/2006/relationships/hyperlink" Target="https://www.consilium.europa.eu/en/infographics/fit-for-55-hydrogen-and-decarbonised-gas-market-package-explained/" TargetMode="External" /><Relationship Id="rId2" Type="http://schemas.openxmlformats.org/officeDocument/2006/relationships/vmlDrawing" Target="../drawings/vmlDrawing14.vml" /><Relationship Id="rId16" Type="http://schemas.openxmlformats.org/officeDocument/2006/relationships/image" Target="../media/image57.png" /><Relationship Id="rId1" Type="http://schemas.openxmlformats.org/officeDocument/2006/relationships/themeOverride" Target="../theme/themeOverride16.xml" /><Relationship Id="rId6" Type="http://schemas.openxmlformats.org/officeDocument/2006/relationships/image" Target="../media/image4.png" /><Relationship Id="rId11" Type="http://schemas.openxmlformats.org/officeDocument/2006/relationships/image" Target="../media/image52.png" /><Relationship Id="rId5" Type="http://schemas.openxmlformats.org/officeDocument/2006/relationships/slideLayout" Target="../slideLayouts/slideLayout1.xml" /><Relationship Id="rId15" Type="http://schemas.openxmlformats.org/officeDocument/2006/relationships/image" Target="../media/image56.png" /><Relationship Id="rId10" Type="http://schemas.openxmlformats.org/officeDocument/2006/relationships/image" Target="../media/image51.png" /><Relationship Id="rId4" Type="http://schemas.openxmlformats.org/officeDocument/2006/relationships/tags" Target="../tags/tag22.xml" /><Relationship Id="rId9" Type="http://schemas.openxmlformats.org/officeDocument/2006/relationships/image" Target="../media/image50.png" /><Relationship Id="rId14" Type="http://schemas.openxmlformats.org/officeDocument/2006/relationships/image" Target="../media/image55.png" 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 /><Relationship Id="rId13" Type="http://schemas.openxmlformats.org/officeDocument/2006/relationships/image" Target="../media/image38.jpeg" /><Relationship Id="rId3" Type="http://schemas.openxmlformats.org/officeDocument/2006/relationships/tags" Target="../tags/tag23.xml" /><Relationship Id="rId7" Type="http://schemas.openxmlformats.org/officeDocument/2006/relationships/image" Target="../media/image4.png" /><Relationship Id="rId12" Type="http://schemas.openxmlformats.org/officeDocument/2006/relationships/image" Target="../media/image37.jfif" /><Relationship Id="rId2" Type="http://schemas.openxmlformats.org/officeDocument/2006/relationships/vmlDrawing" Target="../drawings/vmlDrawing15.vml" /><Relationship Id="rId1" Type="http://schemas.openxmlformats.org/officeDocument/2006/relationships/themeOverride" Target="../theme/themeOverride17.xml" /><Relationship Id="rId6" Type="http://schemas.openxmlformats.org/officeDocument/2006/relationships/notesSlide" Target="../notesSlides/notesSlide7.xml" /><Relationship Id="rId11" Type="http://schemas.openxmlformats.org/officeDocument/2006/relationships/image" Target="../media/image36.jfif" /><Relationship Id="rId5" Type="http://schemas.openxmlformats.org/officeDocument/2006/relationships/slideLayout" Target="../slideLayouts/slideLayout1.xml" /><Relationship Id="rId10" Type="http://schemas.openxmlformats.org/officeDocument/2006/relationships/image" Target="../media/image35.jpeg" /><Relationship Id="rId4" Type="http://schemas.openxmlformats.org/officeDocument/2006/relationships/tags" Target="../tags/tag24.xml" /><Relationship Id="rId9" Type="http://schemas.openxmlformats.org/officeDocument/2006/relationships/image" Target="../media/image1.emf" 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 /><Relationship Id="rId13" Type="http://schemas.openxmlformats.org/officeDocument/2006/relationships/image" Target="../media/image63.png" /><Relationship Id="rId18" Type="http://schemas.openxmlformats.org/officeDocument/2006/relationships/image" Target="../media/image68.png" /><Relationship Id="rId3" Type="http://schemas.openxmlformats.org/officeDocument/2006/relationships/tags" Target="../tags/tag25.xml" /><Relationship Id="rId21" Type="http://schemas.openxmlformats.org/officeDocument/2006/relationships/image" Target="../media/image71.png" /><Relationship Id="rId7" Type="http://schemas.openxmlformats.org/officeDocument/2006/relationships/oleObject" Target="../embeddings/oleObject16.bin" /><Relationship Id="rId12" Type="http://schemas.openxmlformats.org/officeDocument/2006/relationships/image" Target="../media/image62.svg" /><Relationship Id="rId17" Type="http://schemas.openxmlformats.org/officeDocument/2006/relationships/image" Target="../media/image67.png" /><Relationship Id="rId2" Type="http://schemas.openxmlformats.org/officeDocument/2006/relationships/vmlDrawing" Target="../drawings/vmlDrawing16.vml" /><Relationship Id="rId16" Type="http://schemas.openxmlformats.org/officeDocument/2006/relationships/image" Target="../media/image66.svg" /><Relationship Id="rId20" Type="http://schemas.openxmlformats.org/officeDocument/2006/relationships/image" Target="../media/image70.png" /><Relationship Id="rId1" Type="http://schemas.openxmlformats.org/officeDocument/2006/relationships/themeOverride" Target="../theme/themeOverride18.xml" /><Relationship Id="rId6" Type="http://schemas.openxmlformats.org/officeDocument/2006/relationships/image" Target="../media/image4.png" /><Relationship Id="rId11" Type="http://schemas.openxmlformats.org/officeDocument/2006/relationships/image" Target="../media/image61.png" /><Relationship Id="rId24" Type="http://schemas.openxmlformats.org/officeDocument/2006/relationships/image" Target="../media/image37.jfif" /><Relationship Id="rId5" Type="http://schemas.openxmlformats.org/officeDocument/2006/relationships/notesSlide" Target="../notesSlides/notesSlide8.xml" /><Relationship Id="rId15" Type="http://schemas.openxmlformats.org/officeDocument/2006/relationships/image" Target="../media/image65.png" /><Relationship Id="rId23" Type="http://schemas.openxmlformats.org/officeDocument/2006/relationships/image" Target="../media/image73.png" /><Relationship Id="rId10" Type="http://schemas.openxmlformats.org/officeDocument/2006/relationships/image" Target="../media/image60.svg" /><Relationship Id="rId19" Type="http://schemas.openxmlformats.org/officeDocument/2006/relationships/image" Target="../media/image69.png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59.png" /><Relationship Id="rId14" Type="http://schemas.openxmlformats.org/officeDocument/2006/relationships/image" Target="../media/image64.svg" /><Relationship Id="rId22" Type="http://schemas.openxmlformats.org/officeDocument/2006/relationships/image" Target="../media/image72.png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Layout" Target="../slideLayouts/slideLayout1.xml" 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 /><Relationship Id="rId13" Type="http://schemas.openxmlformats.org/officeDocument/2006/relationships/image" Target="../media/image78.png" /><Relationship Id="rId18" Type="http://schemas.openxmlformats.org/officeDocument/2006/relationships/image" Target="../media/image83.png" /><Relationship Id="rId3" Type="http://schemas.openxmlformats.org/officeDocument/2006/relationships/tags" Target="../tags/tag26.xml" /><Relationship Id="rId21" Type="http://schemas.openxmlformats.org/officeDocument/2006/relationships/image" Target="../media/image86.png" /><Relationship Id="rId7" Type="http://schemas.openxmlformats.org/officeDocument/2006/relationships/oleObject" Target="../embeddings/oleObject17.bin" /><Relationship Id="rId12" Type="http://schemas.openxmlformats.org/officeDocument/2006/relationships/image" Target="../media/image77.png" /><Relationship Id="rId17" Type="http://schemas.openxmlformats.org/officeDocument/2006/relationships/image" Target="../media/image82.svg" /><Relationship Id="rId2" Type="http://schemas.openxmlformats.org/officeDocument/2006/relationships/vmlDrawing" Target="../drawings/vmlDrawing17.vml" /><Relationship Id="rId16" Type="http://schemas.openxmlformats.org/officeDocument/2006/relationships/image" Target="../media/image81.png" /><Relationship Id="rId20" Type="http://schemas.openxmlformats.org/officeDocument/2006/relationships/image" Target="../media/image85.png" /><Relationship Id="rId1" Type="http://schemas.openxmlformats.org/officeDocument/2006/relationships/themeOverride" Target="../theme/themeOverride19.xml" /><Relationship Id="rId6" Type="http://schemas.openxmlformats.org/officeDocument/2006/relationships/image" Target="../media/image4.png" /><Relationship Id="rId11" Type="http://schemas.openxmlformats.org/officeDocument/2006/relationships/image" Target="../media/image76.png" /><Relationship Id="rId5" Type="http://schemas.openxmlformats.org/officeDocument/2006/relationships/notesSlide" Target="../notesSlides/notesSlide9.xml" /><Relationship Id="rId15" Type="http://schemas.openxmlformats.org/officeDocument/2006/relationships/image" Target="../media/image80.png" /><Relationship Id="rId23" Type="http://schemas.openxmlformats.org/officeDocument/2006/relationships/image" Target="../media/image88.png" /><Relationship Id="rId10" Type="http://schemas.openxmlformats.org/officeDocument/2006/relationships/image" Target="../media/image75.png" /><Relationship Id="rId19" Type="http://schemas.openxmlformats.org/officeDocument/2006/relationships/image" Target="../media/image84.svg" /><Relationship Id="rId4" Type="http://schemas.openxmlformats.org/officeDocument/2006/relationships/slideLayout" Target="../slideLayouts/slideLayout3.xml" /><Relationship Id="rId9" Type="http://schemas.openxmlformats.org/officeDocument/2006/relationships/image" Target="../media/image74.png" /><Relationship Id="rId14" Type="http://schemas.openxmlformats.org/officeDocument/2006/relationships/image" Target="../media/image79.png" /><Relationship Id="rId22" Type="http://schemas.openxmlformats.org/officeDocument/2006/relationships/image" Target="../media/image87.png" 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slideLayout" Target="../slideLayouts/slideLayout1.xml" /><Relationship Id="rId1" Type="http://schemas.openxmlformats.org/officeDocument/2006/relationships/themeOverride" Target="../theme/themeOverride20.xml" 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 /><Relationship Id="rId13" Type="http://schemas.openxmlformats.org/officeDocument/2006/relationships/image" Target="../media/image38.jpeg" /><Relationship Id="rId3" Type="http://schemas.openxmlformats.org/officeDocument/2006/relationships/tags" Target="../tags/tag27.xml" /><Relationship Id="rId7" Type="http://schemas.openxmlformats.org/officeDocument/2006/relationships/image" Target="../media/image4.png" /><Relationship Id="rId12" Type="http://schemas.openxmlformats.org/officeDocument/2006/relationships/image" Target="../media/image37.jfif" /><Relationship Id="rId2" Type="http://schemas.openxmlformats.org/officeDocument/2006/relationships/vmlDrawing" Target="../drawings/vmlDrawing18.vml" /><Relationship Id="rId1" Type="http://schemas.openxmlformats.org/officeDocument/2006/relationships/themeOverride" Target="../theme/themeOverride21.xml" /><Relationship Id="rId6" Type="http://schemas.openxmlformats.org/officeDocument/2006/relationships/notesSlide" Target="../notesSlides/notesSlide10.xml" /><Relationship Id="rId11" Type="http://schemas.openxmlformats.org/officeDocument/2006/relationships/image" Target="../media/image36.jfif" /><Relationship Id="rId5" Type="http://schemas.openxmlformats.org/officeDocument/2006/relationships/slideLayout" Target="../slideLayouts/slideLayout1.xml" /><Relationship Id="rId10" Type="http://schemas.openxmlformats.org/officeDocument/2006/relationships/image" Target="../media/image35.jpeg" /><Relationship Id="rId4" Type="http://schemas.openxmlformats.org/officeDocument/2006/relationships/tags" Target="../tags/tag28.xml" /><Relationship Id="rId9" Type="http://schemas.openxmlformats.org/officeDocument/2006/relationships/image" Target="../media/image1.emf" 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fif" /><Relationship Id="rId13" Type="http://schemas.openxmlformats.org/officeDocument/2006/relationships/image" Target="../media/image93.png" /><Relationship Id="rId3" Type="http://schemas.openxmlformats.org/officeDocument/2006/relationships/tags" Target="../tags/tag29.xml" /><Relationship Id="rId7" Type="http://schemas.openxmlformats.org/officeDocument/2006/relationships/image" Target="../media/image2.emf" /><Relationship Id="rId12" Type="http://schemas.openxmlformats.org/officeDocument/2006/relationships/image" Target="../media/image92.png" /><Relationship Id="rId2" Type="http://schemas.openxmlformats.org/officeDocument/2006/relationships/vmlDrawing" Target="../drawings/vmlDrawing19.vml" /><Relationship Id="rId16" Type="http://schemas.openxmlformats.org/officeDocument/2006/relationships/image" Target="../media/image96.png" /><Relationship Id="rId1" Type="http://schemas.openxmlformats.org/officeDocument/2006/relationships/themeOverride" Target="../theme/themeOverride22.xml" /><Relationship Id="rId6" Type="http://schemas.openxmlformats.org/officeDocument/2006/relationships/oleObject" Target="../embeddings/oleObject19.bin" /><Relationship Id="rId11" Type="http://schemas.openxmlformats.org/officeDocument/2006/relationships/image" Target="../media/image91.png" /><Relationship Id="rId5" Type="http://schemas.openxmlformats.org/officeDocument/2006/relationships/image" Target="../media/image4.png" /><Relationship Id="rId15" Type="http://schemas.openxmlformats.org/officeDocument/2006/relationships/image" Target="../media/image95.png" /><Relationship Id="rId10" Type="http://schemas.openxmlformats.org/officeDocument/2006/relationships/image" Target="../media/image90.png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89.png" /><Relationship Id="rId14" Type="http://schemas.openxmlformats.org/officeDocument/2006/relationships/image" Target="../media/image94.png" 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 /><Relationship Id="rId3" Type="http://schemas.openxmlformats.org/officeDocument/2006/relationships/tags" Target="../tags/tag30.xml" /><Relationship Id="rId7" Type="http://schemas.openxmlformats.org/officeDocument/2006/relationships/image" Target="../media/image2.emf" /><Relationship Id="rId2" Type="http://schemas.openxmlformats.org/officeDocument/2006/relationships/vmlDrawing" Target="../drawings/vmlDrawing20.vml" /><Relationship Id="rId1" Type="http://schemas.openxmlformats.org/officeDocument/2006/relationships/themeOverride" Target="../theme/themeOverride23.xml" /><Relationship Id="rId6" Type="http://schemas.openxmlformats.org/officeDocument/2006/relationships/oleObject" Target="../embeddings/oleObject20.bin" /><Relationship Id="rId5" Type="http://schemas.openxmlformats.org/officeDocument/2006/relationships/image" Target="../media/image4.png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98.png" 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 /><Relationship Id="rId3" Type="http://schemas.openxmlformats.org/officeDocument/2006/relationships/notesSlide" Target="../notesSlides/notesSlide11.xml" /><Relationship Id="rId7" Type="http://schemas.openxmlformats.org/officeDocument/2006/relationships/image" Target="../media/image101.png" /><Relationship Id="rId2" Type="http://schemas.openxmlformats.org/officeDocument/2006/relationships/slideLayout" Target="../slideLayouts/slideLayout1.xml" /><Relationship Id="rId1" Type="http://schemas.openxmlformats.org/officeDocument/2006/relationships/themeOverride" Target="../theme/themeOverride24.xml" /><Relationship Id="rId6" Type="http://schemas.openxmlformats.org/officeDocument/2006/relationships/image" Target="../media/image100.png" /><Relationship Id="rId5" Type="http://schemas.openxmlformats.org/officeDocument/2006/relationships/image" Target="../media/image99.jpeg" /><Relationship Id="rId4" Type="http://schemas.openxmlformats.org/officeDocument/2006/relationships/image" Target="../media/image4.png" 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 /><Relationship Id="rId13" Type="http://schemas.openxmlformats.org/officeDocument/2006/relationships/image" Target="../media/image38.jpeg" /><Relationship Id="rId3" Type="http://schemas.openxmlformats.org/officeDocument/2006/relationships/tags" Target="../tags/tag31.xml" /><Relationship Id="rId7" Type="http://schemas.openxmlformats.org/officeDocument/2006/relationships/image" Target="../media/image4.png" /><Relationship Id="rId12" Type="http://schemas.openxmlformats.org/officeDocument/2006/relationships/image" Target="../media/image37.jfif" /><Relationship Id="rId2" Type="http://schemas.openxmlformats.org/officeDocument/2006/relationships/vmlDrawing" Target="../drawings/vmlDrawing21.vml" /><Relationship Id="rId1" Type="http://schemas.openxmlformats.org/officeDocument/2006/relationships/themeOverride" Target="../theme/themeOverride25.xml" /><Relationship Id="rId6" Type="http://schemas.openxmlformats.org/officeDocument/2006/relationships/notesSlide" Target="../notesSlides/notesSlide12.xml" /><Relationship Id="rId11" Type="http://schemas.openxmlformats.org/officeDocument/2006/relationships/image" Target="../media/image36.jfif" /><Relationship Id="rId5" Type="http://schemas.openxmlformats.org/officeDocument/2006/relationships/slideLayout" Target="../slideLayouts/slideLayout1.xml" /><Relationship Id="rId10" Type="http://schemas.openxmlformats.org/officeDocument/2006/relationships/image" Target="../media/image35.jpeg" /><Relationship Id="rId4" Type="http://schemas.openxmlformats.org/officeDocument/2006/relationships/tags" Target="../tags/tag32.xml" /><Relationship Id="rId9" Type="http://schemas.openxmlformats.org/officeDocument/2006/relationships/image" Target="../media/image1.emf" 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 /><Relationship Id="rId3" Type="http://schemas.openxmlformats.org/officeDocument/2006/relationships/tags" Target="../tags/tag34.xml" /><Relationship Id="rId7" Type="http://schemas.openxmlformats.org/officeDocument/2006/relationships/image" Target="../media/image1.emf" /><Relationship Id="rId12" Type="http://schemas.openxmlformats.org/officeDocument/2006/relationships/image" Target="../media/image106.png" /><Relationship Id="rId2" Type="http://schemas.openxmlformats.org/officeDocument/2006/relationships/tags" Target="../tags/tag33.xml" /><Relationship Id="rId1" Type="http://schemas.openxmlformats.org/officeDocument/2006/relationships/vmlDrawing" Target="../drawings/vmlDrawing22.vml" /><Relationship Id="rId6" Type="http://schemas.openxmlformats.org/officeDocument/2006/relationships/oleObject" Target="../embeddings/oleObject22.bin" /><Relationship Id="rId11" Type="http://schemas.openxmlformats.org/officeDocument/2006/relationships/image" Target="../media/image38.jpeg" /><Relationship Id="rId5" Type="http://schemas.openxmlformats.org/officeDocument/2006/relationships/image" Target="../media/image4.png" /><Relationship Id="rId10" Type="http://schemas.openxmlformats.org/officeDocument/2006/relationships/image" Target="../media/image105.emf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104.png" 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jpeg" /><Relationship Id="rId3" Type="http://schemas.openxmlformats.org/officeDocument/2006/relationships/tags" Target="../tags/tag35.xml" /><Relationship Id="rId7" Type="http://schemas.openxmlformats.org/officeDocument/2006/relationships/image" Target="../media/image2.emf" /><Relationship Id="rId12" Type="http://schemas.openxmlformats.org/officeDocument/2006/relationships/image" Target="../media/image110.jpeg" /><Relationship Id="rId2" Type="http://schemas.openxmlformats.org/officeDocument/2006/relationships/vmlDrawing" Target="../drawings/vmlDrawing23.vml" /><Relationship Id="rId1" Type="http://schemas.openxmlformats.org/officeDocument/2006/relationships/themeOverride" Target="../theme/themeOverride26.xml" /><Relationship Id="rId6" Type="http://schemas.openxmlformats.org/officeDocument/2006/relationships/oleObject" Target="../embeddings/oleObject23.bin" /><Relationship Id="rId11" Type="http://schemas.openxmlformats.org/officeDocument/2006/relationships/image" Target="../media/image109.jpeg" /><Relationship Id="rId5" Type="http://schemas.openxmlformats.org/officeDocument/2006/relationships/image" Target="../media/image4.png" /><Relationship Id="rId10" Type="http://schemas.openxmlformats.org/officeDocument/2006/relationships/image" Target="../media/image108.jpeg" /><Relationship Id="rId4" Type="http://schemas.openxmlformats.org/officeDocument/2006/relationships/slideLayout" Target="../slideLayouts/slideLayout1.xml" /><Relationship Id="rId9" Type="http://schemas.openxmlformats.org/officeDocument/2006/relationships/hyperlink" Target="https://www.eleconomista.com.mx/empresas/Petroleras-privadas-mantienen-inversion-pese-al-clima-adverso-20210911-0001.html" TargetMode="External" 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slideLayout" Target="../slideLayouts/slideLayout1.xml" /><Relationship Id="rId1" Type="http://schemas.openxmlformats.org/officeDocument/2006/relationships/themeOverride" Target="../theme/themeOverride27.xml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 /><Relationship Id="rId13" Type="http://schemas.openxmlformats.org/officeDocument/2006/relationships/hyperlink" Target="https://www.irena.org/Digital-Report/World-Energy-Transitions-Outlook-2022" TargetMode="External" /><Relationship Id="rId3" Type="http://schemas.openxmlformats.org/officeDocument/2006/relationships/tags" Target="../tags/tag5.xml" /><Relationship Id="rId7" Type="http://schemas.openxmlformats.org/officeDocument/2006/relationships/oleObject" Target="../embeddings/oleObject3.bin" /><Relationship Id="rId12" Type="http://schemas.openxmlformats.org/officeDocument/2006/relationships/image" Target="../media/image8.png" /><Relationship Id="rId2" Type="http://schemas.openxmlformats.org/officeDocument/2006/relationships/vmlDrawing" Target="../drawings/vmlDrawing3.vml" /><Relationship Id="rId1" Type="http://schemas.openxmlformats.org/officeDocument/2006/relationships/themeOverride" Target="../theme/themeOverride1.xml" /><Relationship Id="rId6" Type="http://schemas.openxmlformats.org/officeDocument/2006/relationships/image" Target="../media/image4.png" /><Relationship Id="rId11" Type="http://schemas.openxmlformats.org/officeDocument/2006/relationships/image" Target="../media/image7.png" /><Relationship Id="rId5" Type="http://schemas.openxmlformats.org/officeDocument/2006/relationships/notesSlide" Target="../notesSlides/notesSlide1.xml" /><Relationship Id="rId10" Type="http://schemas.openxmlformats.org/officeDocument/2006/relationships/image" Target="../media/image6.png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5.png" 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 /><Relationship Id="rId3" Type="http://schemas.openxmlformats.org/officeDocument/2006/relationships/tags" Target="../tags/tag36.xml" /><Relationship Id="rId7" Type="http://schemas.openxmlformats.org/officeDocument/2006/relationships/oleObject" Target="../embeddings/oleObject24.bin" /><Relationship Id="rId2" Type="http://schemas.openxmlformats.org/officeDocument/2006/relationships/vmlDrawing" Target="../drawings/vmlDrawing24.vml" /><Relationship Id="rId1" Type="http://schemas.openxmlformats.org/officeDocument/2006/relationships/themeOverride" Target="../theme/themeOverride28.xml" /><Relationship Id="rId6" Type="http://schemas.openxmlformats.org/officeDocument/2006/relationships/image" Target="../media/image4.png" /><Relationship Id="rId11" Type="http://schemas.openxmlformats.org/officeDocument/2006/relationships/image" Target="../media/image112.png" /><Relationship Id="rId5" Type="http://schemas.openxmlformats.org/officeDocument/2006/relationships/notesSlide" Target="../notesSlides/notesSlide13.xml" /><Relationship Id="rId10" Type="http://schemas.openxmlformats.org/officeDocument/2006/relationships/image" Target="../media/image104.png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111.jpeg" 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 /><Relationship Id="rId3" Type="http://schemas.openxmlformats.org/officeDocument/2006/relationships/tags" Target="../tags/tag37.xml" /><Relationship Id="rId7" Type="http://schemas.openxmlformats.org/officeDocument/2006/relationships/oleObject" Target="../embeddings/oleObject25.bin" /><Relationship Id="rId2" Type="http://schemas.openxmlformats.org/officeDocument/2006/relationships/vmlDrawing" Target="../drawings/vmlDrawing25.vml" /><Relationship Id="rId1" Type="http://schemas.openxmlformats.org/officeDocument/2006/relationships/themeOverride" Target="../theme/themeOverride29.xml" /><Relationship Id="rId6" Type="http://schemas.openxmlformats.org/officeDocument/2006/relationships/image" Target="../media/image4.png" /><Relationship Id="rId11" Type="http://schemas.openxmlformats.org/officeDocument/2006/relationships/image" Target="../media/image97.png" /><Relationship Id="rId5" Type="http://schemas.openxmlformats.org/officeDocument/2006/relationships/notesSlide" Target="../notesSlides/notesSlide14.xml" /><Relationship Id="rId10" Type="http://schemas.openxmlformats.org/officeDocument/2006/relationships/image" Target="../media/image112.png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104.png" 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 /><Relationship Id="rId2" Type="http://schemas.openxmlformats.org/officeDocument/2006/relationships/vmlDrawing" Target="../drawings/vmlDrawing26.vml" /><Relationship Id="rId1" Type="http://schemas.openxmlformats.org/officeDocument/2006/relationships/themeOverride" Target="../theme/themeOverride30.xml" /><Relationship Id="rId6" Type="http://schemas.openxmlformats.org/officeDocument/2006/relationships/image" Target="../media/image113.emf" /><Relationship Id="rId5" Type="http://schemas.openxmlformats.org/officeDocument/2006/relationships/package" Target="../embeddings/Microsoft_Excel_Worksheet.xlsx" /><Relationship Id="rId4" Type="http://schemas.openxmlformats.org/officeDocument/2006/relationships/image" Target="../media/image4.png" 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slideLayout" Target="../slideLayouts/slideLayout1.xml" /><Relationship Id="rId1" Type="http://schemas.openxmlformats.org/officeDocument/2006/relationships/themeOverride" Target="../theme/themeOverride31.xml" /><Relationship Id="rId4" Type="http://schemas.openxmlformats.org/officeDocument/2006/relationships/image" Target="../media/image114.png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 /><Relationship Id="rId3" Type="http://schemas.openxmlformats.org/officeDocument/2006/relationships/tags" Target="../tags/tag6.xml" /><Relationship Id="rId7" Type="http://schemas.openxmlformats.org/officeDocument/2006/relationships/image" Target="../media/image2.emf" /><Relationship Id="rId2" Type="http://schemas.openxmlformats.org/officeDocument/2006/relationships/vmlDrawing" Target="../drawings/vmlDrawing4.vml" /><Relationship Id="rId1" Type="http://schemas.openxmlformats.org/officeDocument/2006/relationships/themeOverride" Target="../theme/themeOverride2.xml" /><Relationship Id="rId6" Type="http://schemas.openxmlformats.org/officeDocument/2006/relationships/oleObject" Target="../embeddings/oleObject4.bin" /><Relationship Id="rId5" Type="http://schemas.openxmlformats.org/officeDocument/2006/relationships/image" Target="../media/image4.png" /><Relationship Id="rId10" Type="http://schemas.openxmlformats.org/officeDocument/2006/relationships/hyperlink" Target="https://bit.ly/3pCTPYx" TargetMode="External" /><Relationship Id="rId4" Type="http://schemas.openxmlformats.org/officeDocument/2006/relationships/slideLayout" Target="../slideLayouts/slideLayout1.xml" /><Relationship Id="rId9" Type="http://schemas.openxmlformats.org/officeDocument/2006/relationships/image" Target="../media/image10.png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 /><Relationship Id="rId3" Type="http://schemas.openxmlformats.org/officeDocument/2006/relationships/notesSlide" Target="../notesSlides/notesSlide2.xml" /><Relationship Id="rId7" Type="http://schemas.openxmlformats.org/officeDocument/2006/relationships/image" Target="../media/image12.png" /><Relationship Id="rId2" Type="http://schemas.openxmlformats.org/officeDocument/2006/relationships/slideLayout" Target="../slideLayouts/slideLayout1.xml" /><Relationship Id="rId1" Type="http://schemas.openxmlformats.org/officeDocument/2006/relationships/themeOverride" Target="../theme/themeOverride3.xml" /><Relationship Id="rId6" Type="http://schemas.openxmlformats.org/officeDocument/2006/relationships/image" Target="../media/image6.png" /><Relationship Id="rId5" Type="http://schemas.openxmlformats.org/officeDocument/2006/relationships/image" Target="../media/image11.jpeg" /><Relationship Id="rId4" Type="http://schemas.openxmlformats.org/officeDocument/2006/relationships/image" Target="../media/image4.png" 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 /><Relationship Id="rId3" Type="http://schemas.openxmlformats.org/officeDocument/2006/relationships/tags" Target="../tags/tag7.xml" /><Relationship Id="rId7" Type="http://schemas.openxmlformats.org/officeDocument/2006/relationships/image" Target="../media/image2.emf" /><Relationship Id="rId2" Type="http://schemas.openxmlformats.org/officeDocument/2006/relationships/vmlDrawing" Target="../drawings/vmlDrawing5.vml" /><Relationship Id="rId1" Type="http://schemas.openxmlformats.org/officeDocument/2006/relationships/themeOverride" Target="../theme/themeOverride4.xml" /><Relationship Id="rId6" Type="http://schemas.openxmlformats.org/officeDocument/2006/relationships/oleObject" Target="../embeddings/oleObject5.bin" /><Relationship Id="rId11" Type="http://schemas.openxmlformats.org/officeDocument/2006/relationships/chart" Target="../charts/chart1.xml" /><Relationship Id="rId5" Type="http://schemas.openxmlformats.org/officeDocument/2006/relationships/image" Target="../media/image4.png" /><Relationship Id="rId10" Type="http://schemas.openxmlformats.org/officeDocument/2006/relationships/image" Target="../media/image16.png" /><Relationship Id="rId4" Type="http://schemas.openxmlformats.org/officeDocument/2006/relationships/slideLayout" Target="../slideLayouts/slideLayout2.xml" /><Relationship Id="rId9" Type="http://schemas.openxmlformats.org/officeDocument/2006/relationships/image" Target="../media/image15.png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bit.ly/3XDT4uM" TargetMode="External" /><Relationship Id="rId3" Type="http://schemas.openxmlformats.org/officeDocument/2006/relationships/tags" Target="../tags/tag8.xml" /><Relationship Id="rId7" Type="http://schemas.openxmlformats.org/officeDocument/2006/relationships/image" Target="../media/image2.emf" /><Relationship Id="rId2" Type="http://schemas.openxmlformats.org/officeDocument/2006/relationships/vmlDrawing" Target="../drawings/vmlDrawing6.vml" /><Relationship Id="rId1" Type="http://schemas.openxmlformats.org/officeDocument/2006/relationships/themeOverride" Target="../theme/themeOverride6.xml" /><Relationship Id="rId6" Type="http://schemas.openxmlformats.org/officeDocument/2006/relationships/oleObject" Target="../embeddings/oleObject6.bin" /><Relationship Id="rId5" Type="http://schemas.openxmlformats.org/officeDocument/2006/relationships/image" Target="../media/image4.png" /><Relationship Id="rId4" Type="http://schemas.openxmlformats.org/officeDocument/2006/relationships/slideLayout" Target="../slideLayouts/slideLayout1.xml" 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 /><Relationship Id="rId3" Type="http://schemas.openxmlformats.org/officeDocument/2006/relationships/tags" Target="../tags/tag9.xml" /><Relationship Id="rId7" Type="http://schemas.openxmlformats.org/officeDocument/2006/relationships/oleObject" Target="../embeddings/oleObject7.bin" /><Relationship Id="rId2" Type="http://schemas.openxmlformats.org/officeDocument/2006/relationships/vmlDrawing" Target="../drawings/vmlDrawing7.vml" /><Relationship Id="rId1" Type="http://schemas.openxmlformats.org/officeDocument/2006/relationships/themeOverride" Target="../theme/themeOverride7.xml" /><Relationship Id="rId6" Type="http://schemas.openxmlformats.org/officeDocument/2006/relationships/image" Target="../media/image4.png" /><Relationship Id="rId11" Type="http://schemas.openxmlformats.org/officeDocument/2006/relationships/hyperlink" Target="https://econ.st/3pAHZy6" TargetMode="External" /><Relationship Id="rId5" Type="http://schemas.openxmlformats.org/officeDocument/2006/relationships/slideLayout" Target="../slideLayouts/slideLayout1.xml" /><Relationship Id="rId10" Type="http://schemas.openxmlformats.org/officeDocument/2006/relationships/image" Target="../media/image18.png" /><Relationship Id="rId4" Type="http://schemas.openxmlformats.org/officeDocument/2006/relationships/tags" Target="../tags/tag10.xml" /><Relationship Id="rId9" Type="http://schemas.openxmlformats.org/officeDocument/2006/relationships/image" Target="../media/image17.png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 /><Relationship Id="rId13" Type="http://schemas.openxmlformats.org/officeDocument/2006/relationships/image" Target="../media/image23.png" /><Relationship Id="rId3" Type="http://schemas.openxmlformats.org/officeDocument/2006/relationships/tags" Target="../tags/tag11.xml" /><Relationship Id="rId7" Type="http://schemas.openxmlformats.org/officeDocument/2006/relationships/oleObject" Target="../embeddings/oleObject8.bin" /><Relationship Id="rId12" Type="http://schemas.openxmlformats.org/officeDocument/2006/relationships/image" Target="../media/image22.png" /><Relationship Id="rId2" Type="http://schemas.openxmlformats.org/officeDocument/2006/relationships/vmlDrawing" Target="../drawings/vmlDrawing8.vml" /><Relationship Id="rId1" Type="http://schemas.openxmlformats.org/officeDocument/2006/relationships/themeOverride" Target="../theme/themeOverride8.xml" /><Relationship Id="rId6" Type="http://schemas.openxmlformats.org/officeDocument/2006/relationships/image" Target="../media/image4.png" /><Relationship Id="rId11" Type="http://schemas.openxmlformats.org/officeDocument/2006/relationships/image" Target="../media/image21.png" /><Relationship Id="rId5" Type="http://schemas.openxmlformats.org/officeDocument/2006/relationships/slideLayout" Target="../slideLayouts/slideLayout1.xml" /><Relationship Id="rId10" Type="http://schemas.openxmlformats.org/officeDocument/2006/relationships/image" Target="../media/image20.png" /><Relationship Id="rId4" Type="http://schemas.openxmlformats.org/officeDocument/2006/relationships/tags" Target="../tags/tag12.xml" /><Relationship Id="rId9" Type="http://schemas.openxmlformats.org/officeDocument/2006/relationships/image" Target="../media/image19.png" /><Relationship Id="rId14" Type="http://schemas.openxmlformats.org/officeDocument/2006/relationships/image" Target="../media/image24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3C8BFA24-C291-493F-929E-88E423D506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93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3C8BFA24-C291-493F-929E-88E423D50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78943FD1-6371-4589-8883-62AD07F2BD2C}"/>
              </a:ext>
            </a:extLst>
          </p:cNvPr>
          <p:cNvSpPr txBox="1"/>
          <p:nvPr/>
        </p:nvSpPr>
        <p:spPr>
          <a:xfrm>
            <a:off x="780023" y="1800696"/>
            <a:ext cx="11755905" cy="26930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3000"/>
              </a:spcAft>
            </a:pPr>
            <a:r>
              <a:rPr lang="es-ES" sz="5400" b="1" dirty="0">
                <a:solidFill>
                  <a:schemeClr val="bg1"/>
                </a:solidFill>
              </a:rPr>
              <a:t>Hacia una oferta diversificada, competitiva y atractiva de energéticos</a:t>
            </a:r>
          </a:p>
          <a:p>
            <a:pPr algn="ctr"/>
            <a:r>
              <a:rPr lang="es-ES" sz="3600" i="1" dirty="0">
                <a:solidFill>
                  <a:schemeClr val="bg1"/>
                </a:solidFill>
              </a:rPr>
              <a:t>L</a:t>
            </a:r>
            <a:r>
              <a:rPr lang="es-ES" sz="3600" i="1" dirty="0">
                <a:solidFill>
                  <a:schemeClr val="bg1"/>
                </a:solidFill>
                <a:latin typeface="+mn-lt"/>
              </a:rPr>
              <a:t>a Energía del futuro</a:t>
            </a:r>
          </a:p>
        </p:txBody>
      </p:sp>
      <p:sp>
        <p:nvSpPr>
          <p:cNvPr id="4" name="1 Título"/>
          <p:cNvSpPr txBox="1">
            <a:spLocks/>
          </p:cNvSpPr>
          <p:nvPr/>
        </p:nvSpPr>
        <p:spPr>
          <a:xfrm>
            <a:off x="681311" y="1728687"/>
            <a:ext cx="11953328" cy="3168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986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ES" sz="54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es-ES" sz="4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Marcador de pie de página 1">
            <a:extLst>
              <a:ext uri="{FF2B5EF4-FFF2-40B4-BE49-F238E27FC236}">
                <a16:creationId xmlns:a16="http://schemas.microsoft.com/office/drawing/2014/main" id="{5B2ED92C-D2E4-455B-AAE4-3A852F6DD9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263" y="6913264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62A4965A-F4AA-4CDE-B3B0-AA6DA672B737}"/>
              </a:ext>
            </a:extLst>
          </p:cNvPr>
          <p:cNvSpPr txBox="1"/>
          <p:nvPr/>
        </p:nvSpPr>
        <p:spPr>
          <a:xfrm>
            <a:off x="3597635" y="5341282"/>
            <a:ext cx="61206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dirty="0">
                <a:solidFill>
                  <a:schemeClr val="bg1">
                    <a:lumMod val="75000"/>
                  </a:schemeClr>
                </a:solidFill>
              </a:rPr>
              <a:t>Ing. </a:t>
            </a:r>
            <a:r>
              <a:rPr lang="es-UY" dirty="0" err="1">
                <a:solidFill>
                  <a:schemeClr val="bg1">
                    <a:lumMod val="75000"/>
                  </a:schemeClr>
                </a:solidFill>
              </a:rPr>
              <a:t>Ind</a:t>
            </a:r>
            <a:r>
              <a:rPr lang="es-UY" dirty="0">
                <a:solidFill>
                  <a:schemeClr val="bg1">
                    <a:lumMod val="75000"/>
                  </a:schemeClr>
                </a:solidFill>
              </a:rPr>
              <a:t>. Alejandro Stipanicic, MBA</a:t>
            </a:r>
          </a:p>
          <a:p>
            <a:pPr algn="ctr"/>
            <a:r>
              <a:rPr lang="es-UY" dirty="0">
                <a:solidFill>
                  <a:schemeClr val="bg1">
                    <a:lumMod val="75000"/>
                  </a:schemeClr>
                </a:solidFill>
              </a:rPr>
              <a:t>Presidente</a:t>
            </a:r>
          </a:p>
        </p:txBody>
      </p:sp>
    </p:spTree>
    <p:extLst>
      <p:ext uri="{BB962C8B-B14F-4D97-AF65-F5344CB8AC3E}">
        <p14:creationId xmlns:p14="http://schemas.microsoft.com/office/powerpoint/2010/main" val="3420637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7499EF8-D73F-42D5-8007-393ADA57ED6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7499EF8-D73F-42D5-8007-393ADA57E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EB2D6D47-BE3C-4DC8-A3CA-5F028DF08AE7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El valor de mercado de las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mpresa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nergéticas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Marcador de pie de página 1">
            <a:extLst>
              <a:ext uri="{FF2B5EF4-FFF2-40B4-BE49-F238E27FC236}">
                <a16:creationId xmlns:a16="http://schemas.microsoft.com/office/drawing/2014/main" id="{4261F435-84CA-4959-A0B8-832519070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0" name="Marcador de número de diapositiva 2">
            <a:extLst>
              <a:ext uri="{FF2B5EF4-FFF2-40B4-BE49-F238E27FC236}">
                <a16:creationId xmlns:a16="http://schemas.microsoft.com/office/drawing/2014/main" id="{B8298E2D-1043-48A2-8C19-A862D6ACB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0</a:t>
            </a:fld>
            <a:endParaRPr lang="es-UY" dirty="0"/>
          </a:p>
        </p:txBody>
      </p:sp>
      <p:sp>
        <p:nvSpPr>
          <p:cNvPr id="12" name="Marcador de fecha 3">
            <a:extLst>
              <a:ext uri="{FF2B5EF4-FFF2-40B4-BE49-F238E27FC236}">
                <a16:creationId xmlns:a16="http://schemas.microsoft.com/office/drawing/2014/main" id="{3DF2E833-78F0-41A9-8580-D3AD6FFD0B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sp>
        <p:nvSpPr>
          <p:cNvPr id="529" name="CuadroTexto 528">
            <a:extLst>
              <a:ext uri="{FF2B5EF4-FFF2-40B4-BE49-F238E27FC236}">
                <a16:creationId xmlns:a16="http://schemas.microsoft.com/office/drawing/2014/main" id="{6788E3AD-3E9C-4938-880D-C3649F56ED43}"/>
              </a:ext>
            </a:extLst>
          </p:cNvPr>
          <p:cNvSpPr txBox="1"/>
          <p:nvPr/>
        </p:nvSpPr>
        <p:spPr>
          <a:xfrm>
            <a:off x="3317360" y="4933102"/>
            <a:ext cx="27539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marL="312068" indent="-312068">
              <a:spcAft>
                <a:spcPts val="1200"/>
              </a:spcAft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indent="0" algn="just">
              <a:buNone/>
            </a:pPr>
            <a:r>
              <a:rPr lang="es-ES" sz="1200" dirty="0"/>
              <a:t>El S&amp;P Global </a:t>
            </a:r>
            <a:r>
              <a:rPr lang="es-ES" sz="1200" dirty="0" err="1"/>
              <a:t>Clean</a:t>
            </a:r>
            <a:r>
              <a:rPr lang="es-ES" sz="1200" dirty="0"/>
              <a:t> Energy </a:t>
            </a:r>
            <a:r>
              <a:rPr lang="es-ES" sz="1200" dirty="0" err="1"/>
              <a:t>Index</a:t>
            </a:r>
            <a:r>
              <a:rPr lang="es-ES" sz="1200" dirty="0"/>
              <a:t> proporciona exposición transable y líquida a empresas de todo el mundo que están involucradas en industrias relacionadas con energía limpia, tanto de mercados emergentes como desarrollados, con un número objetivo de 100 componentes.</a:t>
            </a:r>
            <a:endParaRPr lang="es-UY" sz="1200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57DD9EB-32E8-4FC6-9AAF-7CF91417B3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7162" y="987063"/>
            <a:ext cx="6815919" cy="2780017"/>
          </a:xfrm>
          <a:prstGeom prst="rect">
            <a:avLst/>
          </a:prstGeom>
          <a:ln>
            <a:solidFill>
              <a:schemeClr val="accent5"/>
            </a:solidFill>
          </a:ln>
        </p:spPr>
      </p:pic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5DFD44D9-5A3E-4138-A521-7BDA8008B9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2375493"/>
              </p:ext>
            </p:extLst>
          </p:nvPr>
        </p:nvGraphicFramePr>
        <p:xfrm>
          <a:off x="6305897" y="3876113"/>
          <a:ext cx="6802891" cy="2766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CuadroTexto 16">
            <a:extLst>
              <a:ext uri="{FF2B5EF4-FFF2-40B4-BE49-F238E27FC236}">
                <a16:creationId xmlns:a16="http://schemas.microsoft.com/office/drawing/2014/main" id="{1D32428E-4EB6-436F-A27A-8D3549AB6F64}"/>
              </a:ext>
            </a:extLst>
          </p:cNvPr>
          <p:cNvSpPr txBox="1"/>
          <p:nvPr/>
        </p:nvSpPr>
        <p:spPr>
          <a:xfrm>
            <a:off x="7342894" y="1997723"/>
            <a:ext cx="28434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indent="0" algn="just">
              <a:spcAft>
                <a:spcPts val="1200"/>
              </a:spcAft>
              <a:buFont typeface="Arial" panose="020B0604020202020204" pitchFamily="34" charset="0"/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This index measures the performance of 120 of the largest, publicly-traded companies engaged in oil &amp; gas exploration and extraction &amp; production from around the world. It provides global institutional investors exposure to stocks drawn from constituents of the S&amp;P Global BMI.</a:t>
            </a:r>
            <a:endParaRPr lang="es-UY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5736A61-3773-4021-8746-2D57310405DD}"/>
              </a:ext>
            </a:extLst>
          </p:cNvPr>
          <p:cNvSpPr txBox="1"/>
          <p:nvPr/>
        </p:nvSpPr>
        <p:spPr>
          <a:xfrm>
            <a:off x="3333767" y="3870663"/>
            <a:ext cx="22322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b="1" dirty="0">
                <a:solidFill>
                  <a:srgbClr val="FF0000"/>
                </a:solidFill>
              </a:rPr>
              <a:t>S&amp;P Global</a:t>
            </a:r>
          </a:p>
          <a:p>
            <a:r>
              <a:rPr lang="es-UY" b="1" dirty="0" err="1">
                <a:solidFill>
                  <a:srgbClr val="FF0000"/>
                </a:solidFill>
              </a:rPr>
              <a:t>Clean</a:t>
            </a:r>
            <a:r>
              <a:rPr lang="es-UY" b="1" dirty="0">
                <a:solidFill>
                  <a:srgbClr val="FF0000"/>
                </a:solidFill>
              </a:rPr>
              <a:t> Energy </a:t>
            </a:r>
            <a:r>
              <a:rPr lang="es-UY" b="1" dirty="0" err="1">
                <a:solidFill>
                  <a:srgbClr val="FF0000"/>
                </a:solidFill>
              </a:rPr>
              <a:t>Index</a:t>
            </a:r>
            <a:endParaRPr lang="es-UY" b="1" dirty="0">
              <a:solidFill>
                <a:srgbClr val="FF0000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9C9C653-15F4-4AB2-9792-C03AF7FA21A6}"/>
              </a:ext>
            </a:extLst>
          </p:cNvPr>
          <p:cNvSpPr txBox="1"/>
          <p:nvPr/>
        </p:nvSpPr>
        <p:spPr>
          <a:xfrm>
            <a:off x="7342894" y="981108"/>
            <a:ext cx="22322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b="1" dirty="0">
                <a:solidFill>
                  <a:srgbClr val="FF0000"/>
                </a:solidFill>
              </a:rPr>
              <a:t>S&amp;P Global</a:t>
            </a:r>
          </a:p>
          <a:p>
            <a:r>
              <a:rPr lang="es-UY" b="1" dirty="0" err="1">
                <a:solidFill>
                  <a:srgbClr val="FF0000"/>
                </a:solidFill>
              </a:rPr>
              <a:t>Oil</a:t>
            </a:r>
            <a:r>
              <a:rPr lang="es-UY" b="1" dirty="0">
                <a:solidFill>
                  <a:srgbClr val="FF0000"/>
                </a:solidFill>
              </a:rPr>
              <a:t> </a:t>
            </a:r>
            <a:r>
              <a:rPr lang="es-UY" b="1" dirty="0" err="1">
                <a:solidFill>
                  <a:srgbClr val="FF0000"/>
                </a:solidFill>
              </a:rPr>
              <a:t>Index</a:t>
            </a:r>
            <a:endParaRPr lang="es-UY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24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7499EF8-D73F-42D5-8007-393ADA57ED6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7499EF8-D73F-42D5-8007-393ADA57E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EB2D6D47-BE3C-4DC8-A3CA-5F028DF08AE7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Lo que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ve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los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specialista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…</a:t>
            </a:r>
          </a:p>
        </p:txBody>
      </p:sp>
      <p:sp>
        <p:nvSpPr>
          <p:cNvPr id="9" name="Marcador de pie de página 1">
            <a:extLst>
              <a:ext uri="{FF2B5EF4-FFF2-40B4-BE49-F238E27FC236}">
                <a16:creationId xmlns:a16="http://schemas.microsoft.com/office/drawing/2014/main" id="{4261F435-84CA-4959-A0B8-832519070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0" name="Marcador de número de diapositiva 2">
            <a:extLst>
              <a:ext uri="{FF2B5EF4-FFF2-40B4-BE49-F238E27FC236}">
                <a16:creationId xmlns:a16="http://schemas.microsoft.com/office/drawing/2014/main" id="{B8298E2D-1043-48A2-8C19-A862D6ACB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1</a:t>
            </a:fld>
            <a:endParaRPr lang="es-UY" dirty="0"/>
          </a:p>
        </p:txBody>
      </p:sp>
      <p:sp>
        <p:nvSpPr>
          <p:cNvPr id="12" name="Marcador de fecha 3">
            <a:extLst>
              <a:ext uri="{FF2B5EF4-FFF2-40B4-BE49-F238E27FC236}">
                <a16:creationId xmlns:a16="http://schemas.microsoft.com/office/drawing/2014/main" id="{3DF2E833-78F0-41A9-8580-D3AD6FFD0B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0C91F3D-1D2B-4634-A5D5-E0A8993450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8335" y="1125171"/>
            <a:ext cx="2543530" cy="5239481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C05BBF3-7BB7-4F0C-9B4C-79380F143E3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69798" y="3007417"/>
            <a:ext cx="1319177" cy="34864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83255D04-AD60-4F83-B032-EAF3CA0A2A4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94843" y="3667972"/>
            <a:ext cx="4494133" cy="265015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0810853F-ABB6-4FBF-960D-520279D3EE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1645" y="1209429"/>
            <a:ext cx="1472304" cy="1728523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B5C97E0B-14DA-438F-A5C3-E26B63554D8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1644" y="2937953"/>
            <a:ext cx="1472305" cy="1968944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0D977B31-49B2-4169-B448-994D1A5528E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31644" y="4906897"/>
            <a:ext cx="1465982" cy="1415431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6B8D5BA8-2768-45BB-A590-8D90199393F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92791" y="1209429"/>
            <a:ext cx="1339694" cy="1728523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C5D0547E-61D0-4DCF-BAAC-769545D036B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586179" y="2897653"/>
            <a:ext cx="1338067" cy="1264435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6B0D7060-B1AC-4CAC-8CCF-A68A8D7B0A0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606986" y="4142770"/>
            <a:ext cx="1420747" cy="200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566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681311" y="1728687"/>
            <a:ext cx="11953328" cy="3168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986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ES" sz="54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es-ES" sz="4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DB8E30B-8737-4309-8AD3-60F2E468CCAB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Agend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1F6CDE0-9156-4462-9E87-DAF4228B330C}"/>
              </a:ext>
            </a:extLst>
          </p:cNvPr>
          <p:cNvSpPr txBox="1"/>
          <p:nvPr/>
        </p:nvSpPr>
        <p:spPr>
          <a:xfrm>
            <a:off x="3777655" y="3744912"/>
            <a:ext cx="92890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0" indent="-857250">
              <a:spcAft>
                <a:spcPts val="2400"/>
              </a:spcAft>
              <a:buAutoNum type="romanUcPeriod"/>
            </a:pPr>
            <a:r>
              <a:rPr lang="es-UY" sz="4000" b="1" i="1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ómo está el mundo de la Energía</a:t>
            </a:r>
          </a:p>
          <a:p>
            <a:pPr marL="857250" indent="-857250">
              <a:spcAft>
                <a:spcPts val="2400"/>
              </a:spcAft>
              <a:buAutoNum type="romanUcPeriod"/>
            </a:pPr>
            <a:r>
              <a:rPr lang="es-UY" sz="4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estrategia de ANCAP</a:t>
            </a:r>
          </a:p>
        </p:txBody>
      </p:sp>
      <p:sp>
        <p:nvSpPr>
          <p:cNvPr id="9" name="Marcador de pie de página 1">
            <a:extLst>
              <a:ext uri="{FF2B5EF4-FFF2-40B4-BE49-F238E27FC236}">
                <a16:creationId xmlns:a16="http://schemas.microsoft.com/office/drawing/2014/main" id="{655807B3-8D3D-494B-8536-5D89DBD907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7" name="Marcador de fecha 3">
            <a:extLst>
              <a:ext uri="{FF2B5EF4-FFF2-40B4-BE49-F238E27FC236}">
                <a16:creationId xmlns:a16="http://schemas.microsoft.com/office/drawing/2014/main" id="{50105189-DD21-4227-8E88-6645606D1D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1901325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Diapositiva de think-cell" r:id="rId8" imgW="493" imgH="493" progId="TCLayout.ActiveDocument.1">
                  <p:embed/>
                </p:oleObj>
              </mc:Choice>
              <mc:Fallback>
                <p:oleObj name="Diapositiva de think-cell" r:id="rId8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F1CA51F-AC5A-E5AF-9B30-0386F68B4E0F}"/>
              </a:ext>
            </a:extLst>
          </p:cNvPr>
          <p:cNvSpPr txBox="1"/>
          <p:nvPr/>
        </p:nvSpPr>
        <p:spPr>
          <a:xfrm>
            <a:off x="8601495" y="1551274"/>
            <a:ext cx="4486204" cy="4785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 H</a:t>
            </a:r>
            <a:r>
              <a:rPr lang="en-US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 sus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rivado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on claves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l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ransició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aci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ergí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aj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arbon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plementand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amin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iciad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on los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iocombustible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CAP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ose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écada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perienci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l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ducció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macenaj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urificació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y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s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l H</a:t>
            </a:r>
            <a:r>
              <a:rPr lang="en-US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l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finerí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CAP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ideró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rup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terinstitucional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on MIEM y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ut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sd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018.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mparo legal par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ticipar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égim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mpetencia</a:t>
            </a:r>
            <a:endParaRPr lang="es-E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C3A2778-2CEE-42E9-AD5B-939EC297127F}"/>
              </a:ext>
            </a:extLst>
          </p:cNvPr>
          <p:cNvSpPr txBox="1"/>
          <p:nvPr/>
        </p:nvSpPr>
        <p:spPr>
          <a:xfrm>
            <a:off x="177255" y="216520"/>
            <a:ext cx="1252939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De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pequeñ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refinador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a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mpres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de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nergía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sustentables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El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Hidrógeno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Verde y sus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derivados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en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el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centro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de la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estrategia</a:t>
            </a:r>
            <a:endParaRPr lang="es-UY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Forma libre: forma 9">
            <a:extLst>
              <a:ext uri="{FF2B5EF4-FFF2-40B4-BE49-F238E27FC236}">
                <a16:creationId xmlns:a16="http://schemas.microsoft.com/office/drawing/2014/main" id="{89D07786-6DA5-42CF-840D-5FCB75D9C896}"/>
              </a:ext>
            </a:extLst>
          </p:cNvPr>
          <p:cNvSpPr/>
          <p:nvPr/>
        </p:nvSpPr>
        <p:spPr>
          <a:xfrm>
            <a:off x="228251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2031735" rIns="128016" bIns="107987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ción emisiones en </a:t>
            </a:r>
            <a:r>
              <a:rPr lang="es-UY" kern="1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s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dicionales</a:t>
            </a:r>
            <a:endParaRPr lang="es-UY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kern="1200" dirty="0"/>
              <a:t>importación de petróleo y gas natural, refinación, distribución)</a:t>
            </a:r>
            <a:endParaRPr lang="es-UY" sz="1800" i="1" kern="1200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AA0B1C3-B09E-4619-9BC8-C026CACFC0F9}"/>
              </a:ext>
            </a:extLst>
          </p:cNvPr>
          <p:cNvSpPr/>
          <p:nvPr/>
        </p:nvSpPr>
        <p:spPr>
          <a:xfrm>
            <a:off x="460919" y="1798221"/>
            <a:ext cx="1584846" cy="1584846"/>
          </a:xfrm>
          <a:prstGeom prst="ellipse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4" name="Forma libre: forma 13">
            <a:extLst>
              <a:ext uri="{FF2B5EF4-FFF2-40B4-BE49-F238E27FC236}">
                <a16:creationId xmlns:a16="http://schemas.microsoft.com/office/drawing/2014/main" id="{547C3BFD-C00A-4AB0-A102-3516BA1E5D59}"/>
              </a:ext>
            </a:extLst>
          </p:cNvPr>
          <p:cNvSpPr/>
          <p:nvPr/>
        </p:nvSpPr>
        <p:spPr>
          <a:xfrm>
            <a:off x="444491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sintétic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a de CO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ogénico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dirty="0" err="1"/>
              <a:t>PtX</a:t>
            </a:r>
            <a:r>
              <a:rPr lang="es-UY" sz="1600" i="1" dirty="0"/>
              <a:t>)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C9BC300E-7BE3-44D3-8E65-24E789C559FF}"/>
              </a:ext>
            </a:extLst>
          </p:cNvPr>
          <p:cNvSpPr/>
          <p:nvPr/>
        </p:nvSpPr>
        <p:spPr>
          <a:xfrm>
            <a:off x="4698563" y="1798221"/>
            <a:ext cx="1584846" cy="1584846"/>
          </a:xfrm>
          <a:prstGeom prst="ellipse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17E762E6-8D4D-4EF2-9B0D-8BB847BD5FFB}"/>
              </a:ext>
            </a:extLst>
          </p:cNvPr>
          <p:cNvSpPr/>
          <p:nvPr/>
        </p:nvSpPr>
        <p:spPr>
          <a:xfrm>
            <a:off x="233658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alternativ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ites vegetales hidrogenados </a:t>
            </a:r>
            <a:r>
              <a:rPr lang="es-UY" sz="1600" i="1" dirty="0"/>
              <a:t>(HVO)</a:t>
            </a:r>
            <a:endParaRPr lang="es-UY" sz="2200" i="1" dirty="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38E8AAF-0A51-4FE1-BFC1-DE971E332144}"/>
              </a:ext>
            </a:extLst>
          </p:cNvPr>
          <p:cNvSpPr/>
          <p:nvPr/>
        </p:nvSpPr>
        <p:spPr>
          <a:xfrm>
            <a:off x="2567810" y="1798221"/>
            <a:ext cx="1584846" cy="1584846"/>
          </a:xfrm>
          <a:prstGeom prst="ellipse">
            <a:avLst/>
          </a:prstGeom>
          <a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1000" b="-3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2E5D4BE6-C3F6-44F9-851D-F833E24F0FC7}"/>
              </a:ext>
            </a:extLst>
          </p:cNvPr>
          <p:cNvSpPr/>
          <p:nvPr/>
        </p:nvSpPr>
        <p:spPr>
          <a:xfrm>
            <a:off x="6553249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ción de H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erde a escala mundial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7F45173-4530-4369-ACF0-A64B7D6380F2}"/>
              </a:ext>
            </a:extLst>
          </p:cNvPr>
          <p:cNvSpPr/>
          <p:nvPr/>
        </p:nvSpPr>
        <p:spPr>
          <a:xfrm>
            <a:off x="6783972" y="1798221"/>
            <a:ext cx="1584846" cy="1584846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20" name="Flecha: a la izquierda y derecha 19">
            <a:extLst>
              <a:ext uri="{FF2B5EF4-FFF2-40B4-BE49-F238E27FC236}">
                <a16:creationId xmlns:a16="http://schemas.microsoft.com/office/drawing/2014/main" id="{6148B7C9-464B-4062-BDF0-4588BD0E202D}"/>
              </a:ext>
            </a:extLst>
          </p:cNvPr>
          <p:cNvSpPr/>
          <p:nvPr/>
        </p:nvSpPr>
        <p:spPr>
          <a:xfrm>
            <a:off x="563180" y="5320103"/>
            <a:ext cx="7703384" cy="713894"/>
          </a:xfrm>
          <a:prstGeom prst="leftRightArrow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1A05A0D-53B5-4044-8AD6-A55D9915D25E}"/>
              </a:ext>
            </a:extLst>
          </p:cNvPr>
          <p:cNvSpPr txBox="1"/>
          <p:nvPr/>
        </p:nvSpPr>
        <p:spPr>
          <a:xfrm>
            <a:off x="2553519" y="5473104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b="1" dirty="0">
                <a:solidFill>
                  <a:schemeClr val="tx2"/>
                </a:solidFill>
              </a:rPr>
              <a:t>#ResponsibleTransition</a:t>
            </a:r>
          </a:p>
        </p:txBody>
      </p:sp>
      <p:sp>
        <p:nvSpPr>
          <p:cNvPr id="24" name="Marcador de pie de página 1">
            <a:extLst>
              <a:ext uri="{FF2B5EF4-FFF2-40B4-BE49-F238E27FC236}">
                <a16:creationId xmlns:a16="http://schemas.microsoft.com/office/drawing/2014/main" id="{4CCE2CF1-1F7E-41E6-BB03-9C3BCCD4E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8" name="Marcador de número de diapositiva 2">
            <a:extLst>
              <a:ext uri="{FF2B5EF4-FFF2-40B4-BE49-F238E27FC236}">
                <a16:creationId xmlns:a16="http://schemas.microsoft.com/office/drawing/2014/main" id="{3844C7A3-2BFF-4729-882D-3D7B1BA79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3</a:t>
            </a:fld>
            <a:endParaRPr lang="es-UY" dirty="0"/>
          </a:p>
        </p:txBody>
      </p:sp>
      <p:sp>
        <p:nvSpPr>
          <p:cNvPr id="21" name="Marcador de fecha 3">
            <a:extLst>
              <a:ext uri="{FF2B5EF4-FFF2-40B4-BE49-F238E27FC236}">
                <a16:creationId xmlns:a16="http://schemas.microsoft.com/office/drawing/2014/main" id="{E13D0265-ED00-4268-9483-3315FC4BF1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9683699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Diapositiva de think-cell" r:id="rId8" imgW="493" imgH="493" progId="TCLayout.ActiveDocument.1">
                  <p:embed/>
                </p:oleObj>
              </mc:Choice>
              <mc:Fallback>
                <p:oleObj name="Diapositiva de think-cell" r:id="rId8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Forma libre: forma 9">
            <a:extLst>
              <a:ext uri="{FF2B5EF4-FFF2-40B4-BE49-F238E27FC236}">
                <a16:creationId xmlns:a16="http://schemas.microsoft.com/office/drawing/2014/main" id="{89D07786-6DA5-42CF-840D-5FCB75D9C896}"/>
              </a:ext>
            </a:extLst>
          </p:cNvPr>
          <p:cNvSpPr/>
          <p:nvPr/>
        </p:nvSpPr>
        <p:spPr>
          <a:xfrm>
            <a:off x="2481511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2031735" rIns="128016" bIns="107987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ción emisiones en </a:t>
            </a:r>
            <a:r>
              <a:rPr lang="es-UY" kern="1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s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dicionales</a:t>
            </a:r>
            <a:endParaRPr lang="es-UY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kern="1200" dirty="0"/>
              <a:t>importación de petróleo y gas natural, refinación, distribución)</a:t>
            </a:r>
            <a:endParaRPr lang="es-UY" sz="1800" i="1" kern="1200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AA0B1C3-B09E-4619-9BC8-C026CACFC0F9}"/>
              </a:ext>
            </a:extLst>
          </p:cNvPr>
          <p:cNvSpPr/>
          <p:nvPr/>
        </p:nvSpPr>
        <p:spPr>
          <a:xfrm>
            <a:off x="2714179" y="1798221"/>
            <a:ext cx="1584846" cy="1584846"/>
          </a:xfrm>
          <a:prstGeom prst="ellipse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4" name="Forma libre: forma 13">
            <a:extLst>
              <a:ext uri="{FF2B5EF4-FFF2-40B4-BE49-F238E27FC236}">
                <a16:creationId xmlns:a16="http://schemas.microsoft.com/office/drawing/2014/main" id="{547C3BFD-C00A-4AB0-A102-3516BA1E5D59}"/>
              </a:ext>
            </a:extLst>
          </p:cNvPr>
          <p:cNvSpPr/>
          <p:nvPr/>
        </p:nvSpPr>
        <p:spPr>
          <a:xfrm>
            <a:off x="669817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sintétic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a de CO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ogénico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dirty="0" err="1"/>
              <a:t>PtX</a:t>
            </a:r>
            <a:r>
              <a:rPr lang="es-UY" sz="1600" i="1" dirty="0"/>
              <a:t>)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C9BC300E-7BE3-44D3-8E65-24E789C559FF}"/>
              </a:ext>
            </a:extLst>
          </p:cNvPr>
          <p:cNvSpPr/>
          <p:nvPr/>
        </p:nvSpPr>
        <p:spPr>
          <a:xfrm>
            <a:off x="6951823" y="1798221"/>
            <a:ext cx="1584846" cy="1584846"/>
          </a:xfrm>
          <a:prstGeom prst="ellipse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17E762E6-8D4D-4EF2-9B0D-8BB847BD5FFB}"/>
              </a:ext>
            </a:extLst>
          </p:cNvPr>
          <p:cNvSpPr/>
          <p:nvPr/>
        </p:nvSpPr>
        <p:spPr>
          <a:xfrm>
            <a:off x="458984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alternativ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ites vegetales hidrogenados </a:t>
            </a:r>
            <a:r>
              <a:rPr lang="es-UY" sz="1600" i="1" dirty="0"/>
              <a:t>(HVO)</a:t>
            </a:r>
            <a:endParaRPr lang="es-UY" sz="2200" i="1" dirty="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38E8AAF-0A51-4FE1-BFC1-DE971E332144}"/>
              </a:ext>
            </a:extLst>
          </p:cNvPr>
          <p:cNvSpPr/>
          <p:nvPr/>
        </p:nvSpPr>
        <p:spPr>
          <a:xfrm>
            <a:off x="4821070" y="1798221"/>
            <a:ext cx="1584846" cy="1584846"/>
          </a:xfrm>
          <a:prstGeom prst="ellipse">
            <a:avLst/>
          </a:prstGeom>
          <a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1000" b="-3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2E5D4BE6-C3F6-44F9-851D-F833E24F0FC7}"/>
              </a:ext>
            </a:extLst>
          </p:cNvPr>
          <p:cNvSpPr/>
          <p:nvPr/>
        </p:nvSpPr>
        <p:spPr>
          <a:xfrm>
            <a:off x="8806509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ción de H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erde a escala mundial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7F45173-4530-4369-ACF0-A64B7D6380F2}"/>
              </a:ext>
            </a:extLst>
          </p:cNvPr>
          <p:cNvSpPr/>
          <p:nvPr/>
        </p:nvSpPr>
        <p:spPr>
          <a:xfrm>
            <a:off x="9037232" y="1798221"/>
            <a:ext cx="1584846" cy="1584846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24" name="Marcador de pie de página 1">
            <a:extLst>
              <a:ext uri="{FF2B5EF4-FFF2-40B4-BE49-F238E27FC236}">
                <a16:creationId xmlns:a16="http://schemas.microsoft.com/office/drawing/2014/main" id="{4CCE2CF1-1F7E-41E6-BB03-9C3BCCD4E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8" name="Marcador de número de diapositiva 2">
            <a:extLst>
              <a:ext uri="{FF2B5EF4-FFF2-40B4-BE49-F238E27FC236}">
                <a16:creationId xmlns:a16="http://schemas.microsoft.com/office/drawing/2014/main" id="{3844C7A3-2BFF-4729-882D-3D7B1BA79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4</a:t>
            </a:fld>
            <a:endParaRPr lang="es-UY" dirty="0"/>
          </a:p>
        </p:txBody>
      </p:sp>
      <p:sp>
        <p:nvSpPr>
          <p:cNvPr id="21" name="Marcador de fecha 3">
            <a:extLst>
              <a:ext uri="{FF2B5EF4-FFF2-40B4-BE49-F238E27FC236}">
                <a16:creationId xmlns:a16="http://schemas.microsoft.com/office/drawing/2014/main" id="{E13D0265-ED00-4268-9483-3315FC4BF1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1875285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58933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Diapositiva de think-cell" r:id="rId8" imgW="493" imgH="493" progId="TCLayout.ActiveDocument.1">
                  <p:embed/>
                </p:oleObj>
              </mc:Choice>
              <mc:Fallback>
                <p:oleObj name="Diapositiva de think-cell" r:id="rId8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C3A2778-2CEE-42E9-AD5B-939EC297127F}"/>
              </a:ext>
            </a:extLst>
          </p:cNvPr>
          <p:cNvSpPr txBox="1"/>
          <p:nvPr/>
        </p:nvSpPr>
        <p:spPr>
          <a:xfrm>
            <a:off x="177255" y="216520"/>
            <a:ext cx="118813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accent5">
                    <a:lumMod val="75000"/>
                  </a:schemeClr>
                </a:solidFill>
              </a:rPr>
              <a:t>Downstream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: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Refinació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,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Logístic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y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stacione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de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Servicio</a:t>
            </a:r>
            <a:endParaRPr lang="es-UY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F1EEB7F-FCD2-4B93-BD0E-CDA60AB31A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10696" y="1106165"/>
            <a:ext cx="3400425" cy="134302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73232513-3C3B-4457-8DF6-C978EC1F84C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72291" y="1106165"/>
            <a:ext cx="2965934" cy="1660923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891F10B6-A94C-4ECB-B1D0-766198C9DFE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385803" y="1106165"/>
            <a:ext cx="3472698" cy="2317544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D100BEDB-B291-47D2-8846-951DC8C0BA0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10696" y="2851934"/>
            <a:ext cx="2857500" cy="1600200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364B9A0B-F43C-43CF-88F7-8B0B4468373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710696" y="4854878"/>
            <a:ext cx="2914650" cy="1571625"/>
          </a:xfrm>
          <a:prstGeom prst="rect">
            <a:avLst/>
          </a:prstGeom>
        </p:spPr>
      </p:pic>
      <p:pic>
        <p:nvPicPr>
          <p:cNvPr id="35" name="Imagen 34">
            <a:extLst>
              <a:ext uri="{FF2B5EF4-FFF2-40B4-BE49-F238E27FC236}">
                <a16:creationId xmlns:a16="http://schemas.microsoft.com/office/drawing/2014/main" id="{13467394-7510-4254-985C-2EF1159A64A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016841" y="3628949"/>
            <a:ext cx="5193862" cy="2924275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BD042CA0-B0C9-4FFE-8D14-82EE0D07E9E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796449" y="2963507"/>
            <a:ext cx="3070025" cy="2048126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D17EB126-80E5-4C40-8EA1-896E698EEF83}"/>
              </a:ext>
            </a:extLst>
          </p:cNvPr>
          <p:cNvSpPr txBox="1"/>
          <p:nvPr/>
        </p:nvSpPr>
        <p:spPr>
          <a:xfrm>
            <a:off x="5580425" y="5185072"/>
            <a:ext cx="280574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s-UY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sumo de energía</a:t>
            </a:r>
          </a:p>
          <a:p>
            <a:pPr algn="ctr">
              <a:spcAft>
                <a:spcPts val="600"/>
              </a:spcAft>
            </a:pPr>
            <a:r>
              <a:rPr lang="es-UY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ficiencia</a:t>
            </a:r>
          </a:p>
          <a:p>
            <a:pPr algn="ctr">
              <a:spcAft>
                <a:spcPts val="600"/>
              </a:spcAft>
            </a:pPr>
            <a:r>
              <a:rPr lang="es-UY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uevas fuentes</a:t>
            </a:r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FEE72D13-D73B-4203-8F4A-E511F2887374}"/>
              </a:ext>
            </a:extLst>
          </p:cNvPr>
          <p:cNvSpPr/>
          <p:nvPr/>
        </p:nvSpPr>
        <p:spPr>
          <a:xfrm>
            <a:off x="228251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2031735" rIns="128016" bIns="107987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ción emisiones en </a:t>
            </a:r>
            <a:r>
              <a:rPr lang="es-UY" kern="1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s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dicionales</a:t>
            </a:r>
            <a:endParaRPr lang="es-UY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kern="1200" dirty="0"/>
              <a:t>importación de petróleo y gas natural, refinación, distribución)</a:t>
            </a:r>
            <a:endParaRPr lang="es-UY" sz="1800" i="1" kern="1200" dirty="0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id="{659A5E72-D367-43F5-BDC4-924A66893951}"/>
              </a:ext>
            </a:extLst>
          </p:cNvPr>
          <p:cNvSpPr/>
          <p:nvPr/>
        </p:nvSpPr>
        <p:spPr>
          <a:xfrm>
            <a:off x="460919" y="1798221"/>
            <a:ext cx="1584846" cy="1584846"/>
          </a:xfrm>
          <a:prstGeom prst="ellipse">
            <a:avLst/>
          </a:prstGeom>
          <a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8" name="Marcador de pie de página 1">
            <a:extLst>
              <a:ext uri="{FF2B5EF4-FFF2-40B4-BE49-F238E27FC236}">
                <a16:creationId xmlns:a16="http://schemas.microsoft.com/office/drawing/2014/main" id="{54B386D2-F596-48F4-83CB-034D288F9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9" name="Marcador de número de diapositiva 2">
            <a:extLst>
              <a:ext uri="{FF2B5EF4-FFF2-40B4-BE49-F238E27FC236}">
                <a16:creationId xmlns:a16="http://schemas.microsoft.com/office/drawing/2014/main" id="{6B21A56C-19D9-4609-8527-B5A4AABE8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5</a:t>
            </a:fld>
            <a:endParaRPr lang="es-UY" dirty="0"/>
          </a:p>
        </p:txBody>
      </p:sp>
      <p:sp>
        <p:nvSpPr>
          <p:cNvPr id="22" name="Marcador de fecha 3">
            <a:extLst>
              <a:ext uri="{FF2B5EF4-FFF2-40B4-BE49-F238E27FC236}">
                <a16:creationId xmlns:a16="http://schemas.microsoft.com/office/drawing/2014/main" id="{E55E8020-0D17-4561-9921-DB3EF5F8E0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3165426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:a16="http://schemas.microsoft.com/office/drawing/2014/main" id="{457C78B1-FBB0-45D6-AB08-0D7FA43B781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4025" y="1266561"/>
            <a:ext cx="7975006" cy="219031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id="{5B0F58CA-C316-4BCF-AEC3-45AFBEDCD037}"/>
              </a:ext>
            </a:extLst>
          </p:cNvPr>
          <p:cNvSpPr txBox="1"/>
          <p:nvPr/>
        </p:nvSpPr>
        <p:spPr>
          <a:xfrm>
            <a:off x="4416120" y="3751226"/>
            <a:ext cx="7665304" cy="2771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UY" sz="1201" dirty="0">
                <a:hlinkClick r:id="rId6"/>
              </a:rPr>
              <a:t>https://assets.geoexpro.com/uploads/bb70b3ea-2e18-4a36-8064-8bdbf41ded86/GeoExPro_04-2022_FINAL_4web.pdf</a:t>
            </a:r>
            <a:r>
              <a:rPr lang="es-UY" sz="1201" dirty="0"/>
              <a:t>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0F7F6F8-5647-4B61-A01C-FA14A7191348}"/>
              </a:ext>
            </a:extLst>
          </p:cNvPr>
          <p:cNvSpPr txBox="1"/>
          <p:nvPr/>
        </p:nvSpPr>
        <p:spPr>
          <a:xfrm>
            <a:off x="321271" y="1588269"/>
            <a:ext cx="1490729" cy="428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2184" b="1" dirty="0"/>
              <a:t>URUGUAY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98477776-2353-4B36-913C-1804E68707B0}"/>
              </a:ext>
            </a:extLst>
          </p:cNvPr>
          <p:cNvSpPr txBox="1"/>
          <p:nvPr/>
        </p:nvSpPr>
        <p:spPr>
          <a:xfrm>
            <a:off x="6805548" y="1588269"/>
            <a:ext cx="1490729" cy="428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2184" b="1" dirty="0"/>
              <a:t>NAMIBIA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28D16BB0-4639-4376-8C89-8BF13744630C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63459" y="4157313"/>
            <a:ext cx="2752167" cy="2359000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65A2D539-E732-46B6-B2FA-E2CDB7CE538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24993" y="4157311"/>
            <a:ext cx="2752167" cy="2359000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473FB8D9-DEDF-4748-B358-3F4FC5E18C71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86528" y="4157311"/>
            <a:ext cx="2752167" cy="2359000"/>
          </a:xfrm>
          <a:prstGeom prst="rect">
            <a:avLst/>
          </a:prstGeom>
        </p:spPr>
      </p:pic>
      <p:sp>
        <p:nvSpPr>
          <p:cNvPr id="32" name="CuadroTexto 31">
            <a:extLst>
              <a:ext uri="{FF2B5EF4-FFF2-40B4-BE49-F238E27FC236}">
                <a16:creationId xmlns:a16="http://schemas.microsoft.com/office/drawing/2014/main" id="{A8ABB1AE-20A2-41E1-9102-D91C1227AB2C}"/>
              </a:ext>
            </a:extLst>
          </p:cNvPr>
          <p:cNvSpPr txBox="1"/>
          <p:nvPr/>
        </p:nvSpPr>
        <p:spPr>
          <a:xfrm>
            <a:off x="10757758" y="6531658"/>
            <a:ext cx="2009147" cy="277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1201" dirty="0" err="1"/>
              <a:t>Present</a:t>
            </a:r>
            <a:r>
              <a:rPr lang="es-UY" sz="1201" dirty="0"/>
              <a:t> </a:t>
            </a:r>
            <a:r>
              <a:rPr lang="es-UY" sz="1201" dirty="0" err="1"/>
              <a:t>day</a:t>
            </a:r>
            <a:endParaRPr lang="es-UY" sz="1201" dirty="0"/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59E3CB8D-0799-475F-9112-7D2C20E41087}"/>
              </a:ext>
            </a:extLst>
          </p:cNvPr>
          <p:cNvSpPr txBox="1"/>
          <p:nvPr/>
        </p:nvSpPr>
        <p:spPr>
          <a:xfrm>
            <a:off x="7796503" y="6531658"/>
            <a:ext cx="2009147" cy="277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1201" dirty="0"/>
              <a:t>120 MM </a:t>
            </a:r>
            <a:r>
              <a:rPr lang="es-UY" sz="1201" dirty="0" err="1"/>
              <a:t>years</a:t>
            </a:r>
            <a:endParaRPr lang="es-UY" sz="1201" dirty="0"/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0B8B5AC0-861D-42CA-A20A-3AD84F80D593}"/>
              </a:ext>
            </a:extLst>
          </p:cNvPr>
          <p:cNvSpPr txBox="1"/>
          <p:nvPr/>
        </p:nvSpPr>
        <p:spPr>
          <a:xfrm>
            <a:off x="4835248" y="6531658"/>
            <a:ext cx="2009147" cy="277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1201" dirty="0"/>
              <a:t>150 MM </a:t>
            </a:r>
            <a:r>
              <a:rPr lang="es-UY" sz="1201" dirty="0" err="1"/>
              <a:t>years</a:t>
            </a:r>
            <a:endParaRPr lang="es-UY" sz="1201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1C3BF4F-3A3D-41F2-899A-4D6256EBAE78}"/>
              </a:ext>
            </a:extLst>
          </p:cNvPr>
          <p:cNvSpPr txBox="1"/>
          <p:nvPr/>
        </p:nvSpPr>
        <p:spPr>
          <a:xfrm>
            <a:off x="207162" y="170976"/>
            <a:ext cx="1058461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Upstream</a:t>
            </a:r>
          </a:p>
          <a:p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Potencial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de Uruguay a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partir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de similitudes con </a:t>
            </a:r>
            <a:r>
              <a:rPr lang="en-US" sz="2400" b="1" dirty="0" err="1">
                <a:solidFill>
                  <a:schemeClr val="accent5">
                    <a:lumMod val="75000"/>
                  </a:schemeClr>
                </a:solidFill>
              </a:rPr>
              <a:t>geología</a:t>
            </a: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 de Namibia</a:t>
            </a:r>
          </a:p>
        </p:txBody>
      </p:sp>
      <p:sp>
        <p:nvSpPr>
          <p:cNvPr id="22" name="Marcador de pie de página 1">
            <a:extLst>
              <a:ext uri="{FF2B5EF4-FFF2-40B4-BE49-F238E27FC236}">
                <a16:creationId xmlns:a16="http://schemas.microsoft.com/office/drawing/2014/main" id="{B6D284A3-A398-4CC7-951E-DAD61417C3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3" name="Marcador de número de diapositiva 2">
            <a:extLst>
              <a:ext uri="{FF2B5EF4-FFF2-40B4-BE49-F238E27FC236}">
                <a16:creationId xmlns:a16="http://schemas.microsoft.com/office/drawing/2014/main" id="{C2D766BD-5228-4AF2-B849-106469D0E2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6</a:t>
            </a:fld>
            <a:endParaRPr lang="es-UY" dirty="0"/>
          </a:p>
        </p:txBody>
      </p:sp>
      <p:sp>
        <p:nvSpPr>
          <p:cNvPr id="16" name="Marcador de fecha 3">
            <a:extLst>
              <a:ext uri="{FF2B5EF4-FFF2-40B4-BE49-F238E27FC236}">
                <a16:creationId xmlns:a16="http://schemas.microsoft.com/office/drawing/2014/main" id="{F2A16B27-D0FC-4E7A-9C26-BF13F3D318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2982122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7" grpId="0"/>
      <p:bldP spid="28" grpId="0"/>
      <p:bldP spid="32" grpId="0"/>
      <p:bldP spid="33" grpId="0"/>
      <p:bldP spid="3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941" y="178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Diapositiva de think-cell" r:id="rId7" imgW="493" imgH="493" progId="TCLayout.ActiveDocument.1">
                  <p:embed/>
                </p:oleObj>
              </mc:Choice>
              <mc:Fallback>
                <p:oleObj name="Diapositiva de think-cell" r:id="rId7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41" y="178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353" y="199"/>
            <a:ext cx="158742" cy="158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7563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Y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96FA0E1-3D70-4683-9872-6494C4E28B3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2689" t="32687" r="22262" b="30772"/>
          <a:stretch/>
        </p:blipFill>
        <p:spPr>
          <a:xfrm>
            <a:off x="171369" y="2653378"/>
            <a:ext cx="4896544" cy="4187878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D25CCF83-9C4D-4C9C-B36E-2DAC57E2B36D}"/>
              </a:ext>
            </a:extLst>
          </p:cNvPr>
          <p:cNvSpPr txBox="1"/>
          <p:nvPr/>
        </p:nvSpPr>
        <p:spPr>
          <a:xfrm>
            <a:off x="177255" y="216520"/>
            <a:ext cx="105851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i="1" dirty="0">
                <a:solidFill>
                  <a:schemeClr val="accent5">
                    <a:lumMod val="75000"/>
                  </a:schemeClr>
                </a:solidFill>
              </a:rPr>
              <a:t>Upstream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: la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mirad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Pangea y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Noruega</a:t>
            </a:r>
            <a:endParaRPr lang="es-UY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56B174F-42A7-425D-ADE8-A4B6D74BC9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30665" y="251340"/>
            <a:ext cx="3664014" cy="6498899"/>
          </a:xfrm>
          <a:prstGeom prst="rect">
            <a:avLst/>
          </a:prstGeom>
        </p:spPr>
      </p:pic>
      <p:grpSp>
        <p:nvGrpSpPr>
          <p:cNvPr id="19" name="Grupo 18">
            <a:extLst>
              <a:ext uri="{FF2B5EF4-FFF2-40B4-BE49-F238E27FC236}">
                <a16:creationId xmlns:a16="http://schemas.microsoft.com/office/drawing/2014/main" id="{93560E4C-C432-4FEF-A104-8700AAE7686F}"/>
              </a:ext>
            </a:extLst>
          </p:cNvPr>
          <p:cNvGrpSpPr/>
          <p:nvPr/>
        </p:nvGrpSpPr>
        <p:grpSpPr>
          <a:xfrm>
            <a:off x="177255" y="935763"/>
            <a:ext cx="4896544" cy="2089069"/>
            <a:chOff x="7793306" y="736465"/>
            <a:chExt cx="5522644" cy="2144351"/>
          </a:xfrm>
        </p:grpSpPr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F746E776-8259-43E1-8779-E32EE5585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793306" y="736465"/>
              <a:ext cx="5522644" cy="2144351"/>
            </a:xfrm>
            <a:prstGeom prst="rect">
              <a:avLst/>
            </a:prstGeom>
          </p:spPr>
        </p:pic>
        <p:pic>
          <p:nvPicPr>
            <p:cNvPr id="21" name="Imagen 20">
              <a:extLst>
                <a:ext uri="{FF2B5EF4-FFF2-40B4-BE49-F238E27FC236}">
                  <a16:creationId xmlns:a16="http://schemas.microsoft.com/office/drawing/2014/main" id="{C49FDC76-93A9-4732-BBA1-C0C264B0B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1334016" y="1570104"/>
              <a:ext cx="1876687" cy="590632"/>
            </a:xfrm>
            <a:prstGeom prst="rect">
              <a:avLst/>
            </a:prstGeom>
          </p:spPr>
        </p:pic>
      </p:grpSp>
      <p:pic>
        <p:nvPicPr>
          <p:cNvPr id="15" name="Imagen 14">
            <a:extLst>
              <a:ext uri="{FF2B5EF4-FFF2-40B4-BE49-F238E27FC236}">
                <a16:creationId xmlns:a16="http://schemas.microsoft.com/office/drawing/2014/main" id="{3B18C65A-D651-40DF-807A-4573DF62DAB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79029" y="1593289"/>
            <a:ext cx="4262840" cy="1729029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2FC84B9B-D555-485B-BC24-746AC06F1A2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86666" y="3538599"/>
            <a:ext cx="753499" cy="684211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3A04FB37-C2FC-4868-81D4-1CE0DE77275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42186" y="3528888"/>
            <a:ext cx="3399683" cy="693922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165FDB41-4075-4DD9-9D24-D5DB153E5F1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179029" y="4464992"/>
            <a:ext cx="4284681" cy="1556587"/>
          </a:xfrm>
          <a:prstGeom prst="rect">
            <a:avLst/>
          </a:prstGeom>
        </p:spPr>
      </p:pic>
      <p:sp>
        <p:nvSpPr>
          <p:cNvPr id="30" name="Marcador de pie de página 1">
            <a:extLst>
              <a:ext uri="{FF2B5EF4-FFF2-40B4-BE49-F238E27FC236}">
                <a16:creationId xmlns:a16="http://schemas.microsoft.com/office/drawing/2014/main" id="{691C2946-C9A6-4E65-9CDF-EBF8375E0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31" name="Marcador de número de diapositiva 2">
            <a:extLst>
              <a:ext uri="{FF2B5EF4-FFF2-40B4-BE49-F238E27FC236}">
                <a16:creationId xmlns:a16="http://schemas.microsoft.com/office/drawing/2014/main" id="{A8CE487D-6E89-4C28-88BF-AA1F7FD903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7</a:t>
            </a:fld>
            <a:endParaRPr lang="es-UY" dirty="0"/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F8BC45D6-D0E0-40E6-A980-B1E0B9608DEC}"/>
              </a:ext>
            </a:extLst>
          </p:cNvPr>
          <p:cNvSpPr txBox="1"/>
          <p:nvPr/>
        </p:nvSpPr>
        <p:spPr>
          <a:xfrm>
            <a:off x="5127712" y="6049168"/>
            <a:ext cx="431415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UY" sz="1400" i="1" dirty="0">
                <a:hlinkClick r:id="rId17"/>
              </a:rPr>
              <a:t>https://www.consilium.europa.eu/en/infographics/fit-for-55-hydrogen-and-decarbonised-gas-market-package-explained/</a:t>
            </a:r>
            <a:r>
              <a:rPr lang="es-UY" sz="1400" i="1" dirty="0"/>
              <a:t> 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11F6B5AE-991A-403B-A1C4-F0A8B30E760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2477164" y="5634595"/>
            <a:ext cx="409632" cy="362001"/>
          </a:xfrm>
          <a:prstGeom prst="rect">
            <a:avLst/>
          </a:prstGeom>
        </p:spPr>
      </p:pic>
      <p:sp>
        <p:nvSpPr>
          <p:cNvPr id="22" name="Marcador de fecha 3">
            <a:extLst>
              <a:ext uri="{FF2B5EF4-FFF2-40B4-BE49-F238E27FC236}">
                <a16:creationId xmlns:a16="http://schemas.microsoft.com/office/drawing/2014/main" id="{B3BC0C29-6CB2-4A1B-AA8F-F8E7E71E9B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1795607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Diapositiva de think-cell" r:id="rId8" imgW="493" imgH="493" progId="TCLayout.ActiveDocument.1">
                  <p:embed/>
                </p:oleObj>
              </mc:Choice>
              <mc:Fallback>
                <p:oleObj name="Diapositiva de think-cell" r:id="rId8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Forma libre: forma 9">
            <a:extLst>
              <a:ext uri="{FF2B5EF4-FFF2-40B4-BE49-F238E27FC236}">
                <a16:creationId xmlns:a16="http://schemas.microsoft.com/office/drawing/2014/main" id="{89D07786-6DA5-42CF-840D-5FCB75D9C896}"/>
              </a:ext>
            </a:extLst>
          </p:cNvPr>
          <p:cNvSpPr/>
          <p:nvPr/>
        </p:nvSpPr>
        <p:spPr>
          <a:xfrm>
            <a:off x="2481511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2031735" rIns="128016" bIns="107987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ción emisiones en </a:t>
            </a:r>
            <a:r>
              <a:rPr lang="es-UY" kern="1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s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dicionales</a:t>
            </a:r>
            <a:endParaRPr lang="es-UY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kern="1200" dirty="0"/>
              <a:t>importación de petróleo y gas natural, refinación, distribución)</a:t>
            </a:r>
            <a:endParaRPr lang="es-UY" sz="1800" i="1" kern="1200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AA0B1C3-B09E-4619-9BC8-C026CACFC0F9}"/>
              </a:ext>
            </a:extLst>
          </p:cNvPr>
          <p:cNvSpPr/>
          <p:nvPr/>
        </p:nvSpPr>
        <p:spPr>
          <a:xfrm>
            <a:off x="2714179" y="1798221"/>
            <a:ext cx="1584846" cy="1584846"/>
          </a:xfrm>
          <a:prstGeom prst="ellipse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4" name="Forma libre: forma 13">
            <a:extLst>
              <a:ext uri="{FF2B5EF4-FFF2-40B4-BE49-F238E27FC236}">
                <a16:creationId xmlns:a16="http://schemas.microsoft.com/office/drawing/2014/main" id="{547C3BFD-C00A-4AB0-A102-3516BA1E5D59}"/>
              </a:ext>
            </a:extLst>
          </p:cNvPr>
          <p:cNvSpPr/>
          <p:nvPr/>
        </p:nvSpPr>
        <p:spPr>
          <a:xfrm>
            <a:off x="669817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sintétic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a de CO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ogénico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dirty="0" err="1"/>
              <a:t>PtX</a:t>
            </a:r>
            <a:r>
              <a:rPr lang="es-UY" sz="1600" i="1" dirty="0"/>
              <a:t>)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C9BC300E-7BE3-44D3-8E65-24E789C559FF}"/>
              </a:ext>
            </a:extLst>
          </p:cNvPr>
          <p:cNvSpPr/>
          <p:nvPr/>
        </p:nvSpPr>
        <p:spPr>
          <a:xfrm>
            <a:off x="6951823" y="1798221"/>
            <a:ext cx="1584846" cy="1584846"/>
          </a:xfrm>
          <a:prstGeom prst="ellipse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17E762E6-8D4D-4EF2-9B0D-8BB847BD5FFB}"/>
              </a:ext>
            </a:extLst>
          </p:cNvPr>
          <p:cNvSpPr/>
          <p:nvPr/>
        </p:nvSpPr>
        <p:spPr>
          <a:xfrm>
            <a:off x="458984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alternativ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ites vegetales hidrogenados </a:t>
            </a:r>
            <a:r>
              <a:rPr lang="es-UY" sz="1600" i="1" dirty="0"/>
              <a:t>(HVO)</a:t>
            </a:r>
            <a:endParaRPr lang="es-UY" sz="2200" i="1" dirty="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38E8AAF-0A51-4FE1-BFC1-DE971E332144}"/>
              </a:ext>
            </a:extLst>
          </p:cNvPr>
          <p:cNvSpPr/>
          <p:nvPr/>
        </p:nvSpPr>
        <p:spPr>
          <a:xfrm>
            <a:off x="4821070" y="1798221"/>
            <a:ext cx="1584846" cy="1584846"/>
          </a:xfrm>
          <a:prstGeom prst="ellipse">
            <a:avLst/>
          </a:prstGeom>
          <a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1000" b="-3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2E5D4BE6-C3F6-44F9-851D-F833E24F0FC7}"/>
              </a:ext>
            </a:extLst>
          </p:cNvPr>
          <p:cNvSpPr/>
          <p:nvPr/>
        </p:nvSpPr>
        <p:spPr>
          <a:xfrm>
            <a:off x="8806509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ción de H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erde a escala mundial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7F45173-4530-4369-ACF0-A64B7D6380F2}"/>
              </a:ext>
            </a:extLst>
          </p:cNvPr>
          <p:cNvSpPr/>
          <p:nvPr/>
        </p:nvSpPr>
        <p:spPr>
          <a:xfrm>
            <a:off x="9037232" y="1798221"/>
            <a:ext cx="1584846" cy="1584846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24" name="Marcador de pie de página 1">
            <a:extLst>
              <a:ext uri="{FF2B5EF4-FFF2-40B4-BE49-F238E27FC236}">
                <a16:creationId xmlns:a16="http://schemas.microsoft.com/office/drawing/2014/main" id="{4CCE2CF1-1F7E-41E6-BB03-9C3BCCD4E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8" name="Marcador de número de diapositiva 2">
            <a:extLst>
              <a:ext uri="{FF2B5EF4-FFF2-40B4-BE49-F238E27FC236}">
                <a16:creationId xmlns:a16="http://schemas.microsoft.com/office/drawing/2014/main" id="{3844C7A3-2BFF-4729-882D-3D7B1BA79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8</a:t>
            </a:fld>
            <a:endParaRPr lang="es-UY" dirty="0"/>
          </a:p>
        </p:txBody>
      </p:sp>
      <p:sp>
        <p:nvSpPr>
          <p:cNvPr id="21" name="Marcador de fecha 3">
            <a:extLst>
              <a:ext uri="{FF2B5EF4-FFF2-40B4-BE49-F238E27FC236}">
                <a16:creationId xmlns:a16="http://schemas.microsoft.com/office/drawing/2014/main" id="{E13D0265-ED00-4268-9483-3315FC4BF1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4088440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3BF036E-33C7-4558-A28E-A3479EF8870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8797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Diapositiva de think-cell" r:id="rId7" imgW="421" imgH="423" progId="TCLayout.ActiveDocument.1">
                  <p:embed/>
                </p:oleObj>
              </mc:Choice>
              <mc:Fallback>
                <p:oleObj name="Diapositiva de think-cell" r:id="rId7" imgW="421" imgH="42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3BF036E-33C7-4558-A28E-A3479EF88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1B90BA67-98B8-4813-94AA-03D332A01C5F}"/>
              </a:ext>
            </a:extLst>
          </p:cNvPr>
          <p:cNvSpPr txBox="1"/>
          <p:nvPr/>
        </p:nvSpPr>
        <p:spPr>
          <a:xfrm>
            <a:off x="177255" y="216520"/>
            <a:ext cx="105851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Combustibles alternativos</a:t>
            </a:r>
            <a:endParaRPr lang="es-UY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A58734B5-D0B5-4A47-A810-BD41A5E77541}"/>
              </a:ext>
            </a:extLst>
          </p:cNvPr>
          <p:cNvSpPr txBox="1"/>
          <p:nvPr/>
        </p:nvSpPr>
        <p:spPr>
          <a:xfrm>
            <a:off x="5937896" y="144512"/>
            <a:ext cx="68407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algn="r">
              <a:defRPr sz="2800" i="1">
                <a:solidFill>
                  <a:srgbClr val="002060"/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 Grupo ANCAP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ose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uerte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osició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leaginosa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apacidad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liend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atad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y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cceso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 H</a:t>
            </a:r>
            <a:r>
              <a:rPr lang="en-US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Gris y Verde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8BD8EBE7-2E69-4AD5-8B18-5EF43C91962B}"/>
              </a:ext>
            </a:extLst>
          </p:cNvPr>
          <p:cNvSpPr txBox="1"/>
          <p:nvPr/>
        </p:nvSpPr>
        <p:spPr>
          <a:xfrm>
            <a:off x="3705647" y="2304752"/>
            <a:ext cx="3113400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eite de canola</a:t>
            </a:r>
          </a:p>
          <a:p>
            <a:r>
              <a:rPr lang="es-E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90.000 t/año</a:t>
            </a:r>
          </a:p>
          <a:p>
            <a:pPr>
              <a:spcBef>
                <a:spcPts val="2400"/>
              </a:spcBef>
            </a:pPr>
            <a:r>
              <a:rPr lang="es-E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eite de soja</a:t>
            </a:r>
            <a:endParaRPr lang="es-ES" sz="20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s-UY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00.000 t/año</a:t>
            </a:r>
          </a:p>
          <a:p>
            <a:pPr>
              <a:spcBef>
                <a:spcPts val="2400"/>
              </a:spcBef>
            </a:pPr>
            <a:r>
              <a:rPr lang="es-E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bo</a:t>
            </a:r>
          </a:p>
          <a:p>
            <a:r>
              <a:rPr lang="es-E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90.000 t/año</a:t>
            </a:r>
          </a:p>
          <a:p>
            <a:pPr>
              <a:spcBef>
                <a:spcPts val="2400"/>
              </a:spcBef>
            </a:pPr>
            <a:r>
              <a:rPr lang="es-E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CO</a:t>
            </a:r>
          </a:p>
          <a:p>
            <a:r>
              <a:rPr lang="es-E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.000 t/año</a:t>
            </a:r>
            <a:endParaRPr lang="es-UY" sz="20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1" name="Gráfico 50" descr="Cereal contorno">
            <a:extLst>
              <a:ext uri="{FF2B5EF4-FFF2-40B4-BE49-F238E27FC236}">
                <a16:creationId xmlns:a16="http://schemas.microsoft.com/office/drawing/2014/main" id="{D7EDB628-7944-43EA-A9B7-EDAFB9EA6E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13159" y="2232744"/>
            <a:ext cx="504824" cy="504824"/>
          </a:xfrm>
          <a:prstGeom prst="rect">
            <a:avLst/>
          </a:prstGeom>
        </p:spPr>
      </p:pic>
      <p:pic>
        <p:nvPicPr>
          <p:cNvPr id="52" name="Gráfico 51" descr="Soja contorno">
            <a:extLst>
              <a:ext uri="{FF2B5EF4-FFF2-40B4-BE49-F238E27FC236}">
                <a16:creationId xmlns:a16="http://schemas.microsoft.com/office/drawing/2014/main" id="{62CFE78D-2E29-45B9-9847-46CC63F190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46704" y="2888544"/>
            <a:ext cx="437734" cy="437734"/>
          </a:xfrm>
          <a:prstGeom prst="rect">
            <a:avLst/>
          </a:prstGeom>
        </p:spPr>
      </p:pic>
      <p:pic>
        <p:nvPicPr>
          <p:cNvPr id="53" name="Gráfico 52" descr="Cultivos contorno">
            <a:extLst>
              <a:ext uri="{FF2B5EF4-FFF2-40B4-BE49-F238E27FC236}">
                <a16:creationId xmlns:a16="http://schemas.microsoft.com/office/drawing/2014/main" id="{A5D61394-34C1-4BAC-A734-A66AEB1C3C6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23730" y="3477253"/>
            <a:ext cx="483683" cy="483683"/>
          </a:xfrm>
          <a:prstGeom prst="rect">
            <a:avLst/>
          </a:prstGeom>
        </p:spPr>
      </p:pic>
      <p:pic>
        <p:nvPicPr>
          <p:cNvPr id="58" name="Gráfico 57" descr="Vaca contorno">
            <a:extLst>
              <a:ext uri="{FF2B5EF4-FFF2-40B4-BE49-F238E27FC236}">
                <a16:creationId xmlns:a16="http://schemas.microsoft.com/office/drawing/2014/main" id="{3D7C7FE8-990A-47A5-B79A-B320B7E35EB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92551" y="4151001"/>
            <a:ext cx="746040" cy="746040"/>
          </a:xfrm>
          <a:prstGeom prst="rect">
            <a:avLst/>
          </a:prstGeom>
        </p:spPr>
      </p:pic>
      <p:pic>
        <p:nvPicPr>
          <p:cNvPr id="59" name="Picture 12" descr="icono de línea para petroquímica 3158746 Vector en Vecteezy">
            <a:extLst>
              <a:ext uri="{FF2B5EF4-FFF2-40B4-BE49-F238E27FC236}">
                <a16:creationId xmlns:a16="http://schemas.microsoft.com/office/drawing/2014/main" id="{94649265-08F3-4221-83B1-67AC71C3B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2711" y="2180239"/>
            <a:ext cx="669350" cy="66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4" descr="icono de línea para refinado 16058082 Vector en Vecteezy">
            <a:extLst>
              <a:ext uri="{FF2B5EF4-FFF2-40B4-BE49-F238E27FC236}">
                <a16:creationId xmlns:a16="http://schemas.microsoft.com/office/drawing/2014/main" id="{730AAD02-B3C4-433A-9AB1-C8A27A130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637" y="2129227"/>
            <a:ext cx="640618" cy="640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8" descr="Refinery Symbol Images – Browse 37,043 Stock Photos, Vectors, and Video |  Adobe Stock">
            <a:extLst>
              <a:ext uri="{FF2B5EF4-FFF2-40B4-BE49-F238E27FC236}">
                <a16:creationId xmlns:a16="http://schemas.microsoft.com/office/drawing/2014/main" id="{7A06B0B7-BB60-4A80-BCE6-27DF1BBD65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2" t="18429" r="67889" b="20846"/>
          <a:stretch/>
        </p:blipFill>
        <p:spPr bwMode="auto">
          <a:xfrm>
            <a:off x="8935695" y="4410325"/>
            <a:ext cx="2001405" cy="1638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0" descr="Black Line Icon for Oil, Lubricant and Paraffin Stock Vector - Illustration  of shape, sign: 170052097">
            <a:extLst>
              <a:ext uri="{FF2B5EF4-FFF2-40B4-BE49-F238E27FC236}">
                <a16:creationId xmlns:a16="http://schemas.microsoft.com/office/drawing/2014/main" id="{89AC10C1-2BAE-4B2F-BD5D-21A54E4E29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57" t="11317" r="23328" b="12869"/>
          <a:stretch/>
        </p:blipFill>
        <p:spPr bwMode="auto">
          <a:xfrm>
            <a:off x="5813159" y="5075908"/>
            <a:ext cx="504824" cy="757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2" descr="Drop, fat, lube, lubricant, oil, paraffin, tallow icon - Download on  Iconfinder">
            <a:extLst>
              <a:ext uri="{FF2B5EF4-FFF2-40B4-BE49-F238E27FC236}">
                <a16:creationId xmlns:a16="http://schemas.microsoft.com/office/drawing/2014/main" id="{9179CF4E-F6B3-43C4-8E61-949C8A5A3F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3031" y="2632016"/>
            <a:ext cx="437733" cy="437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CuadroTexto 64">
            <a:extLst>
              <a:ext uri="{FF2B5EF4-FFF2-40B4-BE49-F238E27FC236}">
                <a16:creationId xmlns:a16="http://schemas.microsoft.com/office/drawing/2014/main" id="{08FAA944-750F-48EF-8ABF-F5207FD5BB7A}"/>
              </a:ext>
            </a:extLst>
          </p:cNvPr>
          <p:cNvSpPr txBox="1"/>
          <p:nvPr/>
        </p:nvSpPr>
        <p:spPr>
          <a:xfrm>
            <a:off x="9826327" y="2952824"/>
            <a:ext cx="16157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50.000 t/año</a:t>
            </a:r>
          </a:p>
        </p:txBody>
      </p:sp>
      <p:sp>
        <p:nvSpPr>
          <p:cNvPr id="66" name="Rectángulo: esquinas redondeadas 65">
            <a:extLst>
              <a:ext uri="{FF2B5EF4-FFF2-40B4-BE49-F238E27FC236}">
                <a16:creationId xmlns:a16="http://schemas.microsoft.com/office/drawing/2014/main" id="{F2E0093E-60B2-4AEA-9456-34DC72F43EEE}"/>
              </a:ext>
            </a:extLst>
          </p:cNvPr>
          <p:cNvSpPr/>
          <p:nvPr/>
        </p:nvSpPr>
        <p:spPr>
          <a:xfrm>
            <a:off x="3660374" y="1734412"/>
            <a:ext cx="4733138" cy="4475948"/>
          </a:xfrm>
          <a:prstGeom prst="roundRect">
            <a:avLst>
              <a:gd name="adj" fmla="val 9608"/>
            </a:avLst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7" name="Rectángulo: esquinas redondeadas 66">
            <a:extLst>
              <a:ext uri="{FF2B5EF4-FFF2-40B4-BE49-F238E27FC236}">
                <a16:creationId xmlns:a16="http://schemas.microsoft.com/office/drawing/2014/main" id="{98D983F9-55F0-4F47-BAFA-51E056BBEB83}"/>
              </a:ext>
            </a:extLst>
          </p:cNvPr>
          <p:cNvSpPr/>
          <p:nvPr/>
        </p:nvSpPr>
        <p:spPr>
          <a:xfrm>
            <a:off x="8503009" y="1728688"/>
            <a:ext cx="2866777" cy="4475948"/>
          </a:xfrm>
          <a:prstGeom prst="roundRect">
            <a:avLst>
              <a:gd name="adj" fmla="val 18296"/>
            </a:avLst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8" name="Flecha: hacia arriba 67">
            <a:extLst>
              <a:ext uri="{FF2B5EF4-FFF2-40B4-BE49-F238E27FC236}">
                <a16:creationId xmlns:a16="http://schemas.microsoft.com/office/drawing/2014/main" id="{093D3F2A-F53B-4DF4-9B80-8C97EC8014CF}"/>
              </a:ext>
            </a:extLst>
          </p:cNvPr>
          <p:cNvSpPr/>
          <p:nvPr/>
        </p:nvSpPr>
        <p:spPr>
          <a:xfrm>
            <a:off x="9538295" y="3051423"/>
            <a:ext cx="311548" cy="1191043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9" name="Flecha: hacia arriba 68">
            <a:extLst>
              <a:ext uri="{FF2B5EF4-FFF2-40B4-BE49-F238E27FC236}">
                <a16:creationId xmlns:a16="http://schemas.microsoft.com/office/drawing/2014/main" id="{F6C136E4-27DA-4A3E-961E-77A6276BF73A}"/>
              </a:ext>
            </a:extLst>
          </p:cNvPr>
          <p:cNvSpPr/>
          <p:nvPr/>
        </p:nvSpPr>
        <p:spPr>
          <a:xfrm rot="10800000">
            <a:off x="10114359" y="3324470"/>
            <a:ext cx="311548" cy="1191043"/>
          </a:xfrm>
          <a:prstGeom prst="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F89C3DE4-287B-49AA-AD2D-3AF89A837247}"/>
              </a:ext>
            </a:extLst>
          </p:cNvPr>
          <p:cNvSpPr txBox="1"/>
          <p:nvPr/>
        </p:nvSpPr>
        <p:spPr>
          <a:xfrm>
            <a:off x="8388014" y="3829114"/>
            <a:ext cx="14383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</a:t>
            </a:r>
            <a:r>
              <a:rPr lang="es-ES" sz="2000" baseline="-25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  <a:p>
            <a:pPr algn="ctr"/>
            <a:r>
              <a:rPr lang="es-E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zul / Gris</a:t>
            </a:r>
            <a:endParaRPr lang="es-ES" sz="2000" b="1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1" name="Rectángulo: esquinas redondeadas 70">
            <a:extLst>
              <a:ext uri="{FF2B5EF4-FFF2-40B4-BE49-F238E27FC236}">
                <a16:creationId xmlns:a16="http://schemas.microsoft.com/office/drawing/2014/main" id="{82203D8B-0F11-49C8-9BFE-7D039D584297}"/>
              </a:ext>
            </a:extLst>
          </p:cNvPr>
          <p:cNvSpPr/>
          <p:nvPr/>
        </p:nvSpPr>
        <p:spPr>
          <a:xfrm>
            <a:off x="6585967" y="2060061"/>
            <a:ext cx="753725" cy="845082"/>
          </a:xfrm>
          <a:prstGeom prst="roundRect">
            <a:avLst>
              <a:gd name="adj" fmla="val 9608"/>
            </a:avLst>
          </a:prstGeom>
          <a:noFill/>
          <a:ln w="254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2" name="Rectángulo: esquinas redondeadas 71">
            <a:extLst>
              <a:ext uri="{FF2B5EF4-FFF2-40B4-BE49-F238E27FC236}">
                <a16:creationId xmlns:a16="http://schemas.microsoft.com/office/drawing/2014/main" id="{0FC909C4-D640-41EF-8CF9-6DB2A57B2E3D}"/>
              </a:ext>
            </a:extLst>
          </p:cNvPr>
          <p:cNvSpPr/>
          <p:nvPr/>
        </p:nvSpPr>
        <p:spPr>
          <a:xfrm>
            <a:off x="9700314" y="2016653"/>
            <a:ext cx="702077" cy="872293"/>
          </a:xfrm>
          <a:prstGeom prst="roundRect">
            <a:avLst>
              <a:gd name="adj" fmla="val 9608"/>
            </a:avLst>
          </a:prstGeom>
          <a:noFill/>
          <a:ln w="254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3" name="Imagen 72">
            <a:extLst>
              <a:ext uri="{FF2B5EF4-FFF2-40B4-BE49-F238E27FC236}">
                <a16:creationId xmlns:a16="http://schemas.microsoft.com/office/drawing/2014/main" id="{CC8B75D1-0B4C-49BD-B53B-A286FCA1884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663819" y="5505757"/>
            <a:ext cx="500461" cy="480575"/>
          </a:xfrm>
          <a:prstGeom prst="rect">
            <a:avLst/>
          </a:prstGeom>
        </p:spPr>
      </p:pic>
      <p:pic>
        <p:nvPicPr>
          <p:cNvPr id="74" name="Imagen 73">
            <a:extLst>
              <a:ext uri="{FF2B5EF4-FFF2-40B4-BE49-F238E27FC236}">
                <a16:creationId xmlns:a16="http://schemas.microsoft.com/office/drawing/2014/main" id="{9BF47383-3358-47D5-A27B-2E107875B04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044614" y="5531995"/>
            <a:ext cx="483578" cy="480575"/>
          </a:xfrm>
          <a:prstGeom prst="rect">
            <a:avLst/>
          </a:prstGeom>
        </p:spPr>
      </p:pic>
      <p:sp>
        <p:nvSpPr>
          <p:cNvPr id="75" name="Flecha: a la derecha 74">
            <a:extLst>
              <a:ext uri="{FF2B5EF4-FFF2-40B4-BE49-F238E27FC236}">
                <a16:creationId xmlns:a16="http://schemas.microsoft.com/office/drawing/2014/main" id="{7237AB66-1496-4AFA-A120-4C15D350F2B0}"/>
              </a:ext>
            </a:extLst>
          </p:cNvPr>
          <p:cNvSpPr/>
          <p:nvPr/>
        </p:nvSpPr>
        <p:spPr>
          <a:xfrm>
            <a:off x="7513539" y="2343858"/>
            <a:ext cx="2090668" cy="28815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6" name="Flecha: a la derecha 75">
            <a:extLst>
              <a:ext uri="{FF2B5EF4-FFF2-40B4-BE49-F238E27FC236}">
                <a16:creationId xmlns:a16="http://schemas.microsoft.com/office/drawing/2014/main" id="{975135FB-1D34-49D6-8F7D-64E11101E045}"/>
              </a:ext>
            </a:extLst>
          </p:cNvPr>
          <p:cNvSpPr/>
          <p:nvPr/>
        </p:nvSpPr>
        <p:spPr>
          <a:xfrm rot="10800000">
            <a:off x="10498498" y="2349967"/>
            <a:ext cx="2090668" cy="28815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6DA50311-CB8B-4759-9E70-E7DA3E3B6A76}"/>
              </a:ext>
            </a:extLst>
          </p:cNvPr>
          <p:cNvSpPr txBox="1"/>
          <p:nvPr/>
        </p:nvSpPr>
        <p:spPr>
          <a:xfrm>
            <a:off x="11338495" y="2535003"/>
            <a:ext cx="143831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</a:t>
            </a:r>
            <a:r>
              <a:rPr lang="es-ES" sz="2000" baseline="-25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es-E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Verde</a:t>
            </a:r>
            <a:endParaRPr lang="es-ES" sz="2000" b="1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A553C259-FD5D-490B-A90E-A8547A6222AD}"/>
              </a:ext>
            </a:extLst>
          </p:cNvPr>
          <p:cNvSpPr txBox="1"/>
          <p:nvPr/>
        </p:nvSpPr>
        <p:spPr>
          <a:xfrm>
            <a:off x="3660375" y="6307583"/>
            <a:ext cx="47331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2400" b="1" dirty="0">
                <a:solidFill>
                  <a:srgbClr val="0070C0"/>
                </a:solidFill>
              </a:rPr>
              <a:t>Complejo agroindustrial ALUR</a:t>
            </a: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0040CCC8-BDA7-44D2-8ABD-40C4BF0A752E}"/>
              </a:ext>
            </a:extLst>
          </p:cNvPr>
          <p:cNvSpPr txBox="1"/>
          <p:nvPr/>
        </p:nvSpPr>
        <p:spPr>
          <a:xfrm>
            <a:off x="8102252" y="6307583"/>
            <a:ext cx="3668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2400" b="1" dirty="0">
                <a:solidFill>
                  <a:srgbClr val="0070C0"/>
                </a:solidFill>
              </a:rPr>
              <a:t>Refinería La Teja</a:t>
            </a:r>
          </a:p>
        </p:txBody>
      </p:sp>
      <p:sp>
        <p:nvSpPr>
          <p:cNvPr id="79" name="Flecha: a la derecha 78">
            <a:extLst>
              <a:ext uri="{FF2B5EF4-FFF2-40B4-BE49-F238E27FC236}">
                <a16:creationId xmlns:a16="http://schemas.microsoft.com/office/drawing/2014/main" id="{B781D5D9-3BC3-433C-8485-963231974D06}"/>
              </a:ext>
            </a:extLst>
          </p:cNvPr>
          <p:cNvSpPr/>
          <p:nvPr/>
        </p:nvSpPr>
        <p:spPr>
          <a:xfrm>
            <a:off x="10994578" y="4902618"/>
            <a:ext cx="1615787" cy="67784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197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Forma libre: forma 43">
            <a:extLst>
              <a:ext uri="{FF2B5EF4-FFF2-40B4-BE49-F238E27FC236}">
                <a16:creationId xmlns:a16="http://schemas.microsoft.com/office/drawing/2014/main" id="{FD6F9CEE-C8DE-4238-BE3A-7C9454A8F66B}"/>
              </a:ext>
            </a:extLst>
          </p:cNvPr>
          <p:cNvSpPr/>
          <p:nvPr/>
        </p:nvSpPr>
        <p:spPr>
          <a:xfrm>
            <a:off x="219194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ites vegetales hidrogenados </a:t>
            </a:r>
            <a:r>
              <a:rPr lang="es-UY" sz="1600" i="1" dirty="0"/>
              <a:t>(HVO)</a:t>
            </a:r>
            <a:endParaRPr lang="es-UY" sz="2200" i="1" dirty="0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0E676375-418C-4485-8CD3-48222D52A53A}"/>
              </a:ext>
            </a:extLst>
          </p:cNvPr>
          <p:cNvSpPr/>
          <p:nvPr/>
        </p:nvSpPr>
        <p:spPr>
          <a:xfrm>
            <a:off x="450416" y="1798221"/>
            <a:ext cx="1584846" cy="1584846"/>
          </a:xfrm>
          <a:prstGeom prst="ellipse">
            <a:avLst/>
          </a:prstGeom>
          <a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1000" b="-3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36" name="Marcador de pie de página 1">
            <a:extLst>
              <a:ext uri="{FF2B5EF4-FFF2-40B4-BE49-F238E27FC236}">
                <a16:creationId xmlns:a16="http://schemas.microsoft.com/office/drawing/2014/main" id="{1843CAEA-D1A3-4274-946C-0896B9E534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37" name="Marcador de número de diapositiva 2">
            <a:extLst>
              <a:ext uri="{FF2B5EF4-FFF2-40B4-BE49-F238E27FC236}">
                <a16:creationId xmlns:a16="http://schemas.microsoft.com/office/drawing/2014/main" id="{19730A27-C774-4137-BA9E-C2891AEB5C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19</a:t>
            </a:fld>
            <a:endParaRPr lang="es-UY" dirty="0"/>
          </a:p>
        </p:txBody>
      </p:sp>
      <p:sp>
        <p:nvSpPr>
          <p:cNvPr id="39" name="Marcador de fecha 3">
            <a:extLst>
              <a:ext uri="{FF2B5EF4-FFF2-40B4-BE49-F238E27FC236}">
                <a16:creationId xmlns:a16="http://schemas.microsoft.com/office/drawing/2014/main" id="{2E29CA15-AACD-4CE2-8DA5-AC161437E1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1779921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681311" y="1728687"/>
            <a:ext cx="11953328" cy="3168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986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ES" sz="54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es-ES" sz="4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DB8E30B-8737-4309-8AD3-60F2E468CCAB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Agend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1F6CDE0-9156-4462-9E87-DAF4228B330C}"/>
              </a:ext>
            </a:extLst>
          </p:cNvPr>
          <p:cNvSpPr txBox="1"/>
          <p:nvPr/>
        </p:nvSpPr>
        <p:spPr>
          <a:xfrm>
            <a:off x="3777655" y="3744912"/>
            <a:ext cx="92890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0" indent="-857250">
              <a:spcAft>
                <a:spcPts val="2400"/>
              </a:spcAft>
              <a:buAutoNum type="romanUcPeriod"/>
            </a:pPr>
            <a:r>
              <a:rPr lang="es-UY" sz="4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ómo está el mundo de la Energía</a:t>
            </a:r>
          </a:p>
          <a:p>
            <a:pPr marL="857250" indent="-857250">
              <a:spcAft>
                <a:spcPts val="2400"/>
              </a:spcAft>
              <a:buAutoNum type="romanUcPeriod"/>
            </a:pPr>
            <a:r>
              <a:rPr lang="es-UY" sz="4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estrategia de ANCAP</a:t>
            </a:r>
          </a:p>
        </p:txBody>
      </p:sp>
      <p:sp>
        <p:nvSpPr>
          <p:cNvPr id="7" name="Marcador de pie de página 1">
            <a:extLst>
              <a:ext uri="{FF2B5EF4-FFF2-40B4-BE49-F238E27FC236}">
                <a16:creationId xmlns:a16="http://schemas.microsoft.com/office/drawing/2014/main" id="{5B2ED92C-D2E4-455B-AAE4-3A852F6DD9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9" name="Marcador de fecha 3">
            <a:extLst>
              <a:ext uri="{FF2B5EF4-FFF2-40B4-BE49-F238E27FC236}">
                <a16:creationId xmlns:a16="http://schemas.microsoft.com/office/drawing/2014/main" id="{5DF1A096-6FDE-404C-AA98-A06735E956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29516610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1E55CE9B-F3E6-43A5-9F9E-2428FE4F042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5400476"/>
              </p:ext>
            </p:extLst>
          </p:nvPr>
        </p:nvGraphicFramePr>
        <p:xfrm>
          <a:off x="2087" y="1734"/>
          <a:ext cx="1734" cy="17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Diapositiva de think-cell" r:id="rId7" imgW="421" imgH="423" progId="TCLayout.ActiveDocument.1">
                  <p:embed/>
                </p:oleObj>
              </mc:Choice>
              <mc:Fallback>
                <p:oleObj name="Diapositiva de think-cell" r:id="rId7" imgW="421" imgH="423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1E55CE9B-F3E6-43A5-9F9E-2428FE4F04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87" y="1734"/>
                        <a:ext cx="1734" cy="17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ector: angular 11">
            <a:extLst>
              <a:ext uri="{FF2B5EF4-FFF2-40B4-BE49-F238E27FC236}">
                <a16:creationId xmlns:a16="http://schemas.microsoft.com/office/drawing/2014/main" id="{1B367D86-A6AC-4C3F-A63D-7CD080EFB4FD}"/>
              </a:ext>
            </a:extLst>
          </p:cNvPr>
          <p:cNvCxnSpPr/>
          <p:nvPr/>
        </p:nvCxnSpPr>
        <p:spPr>
          <a:xfrm rot="16200000" flipH="1">
            <a:off x="3346829" y="5539179"/>
            <a:ext cx="366156" cy="50777"/>
          </a:xfrm>
          <a:prstGeom prst="bentConnector3">
            <a:avLst>
              <a:gd name="adj1" fmla="val 50000"/>
            </a:avLst>
          </a:prstGeom>
          <a:ln>
            <a:solidFill>
              <a:srgbClr val="00B050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3" name="Flecha: a la derecha 12">
            <a:extLst>
              <a:ext uri="{FF2B5EF4-FFF2-40B4-BE49-F238E27FC236}">
                <a16:creationId xmlns:a16="http://schemas.microsoft.com/office/drawing/2014/main" id="{8EB1659D-D854-4010-8C60-0AA441CD467A}"/>
              </a:ext>
            </a:extLst>
          </p:cNvPr>
          <p:cNvSpPr/>
          <p:nvPr/>
        </p:nvSpPr>
        <p:spPr>
          <a:xfrm rot="21262121">
            <a:off x="1929523" y="4138041"/>
            <a:ext cx="2837765" cy="56277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UY" sz="2184"/>
          </a:p>
        </p:txBody>
      </p:sp>
      <p:pic>
        <p:nvPicPr>
          <p:cNvPr id="14" name="Imagen 62" descr="Icono&#10;&#10;Descripción generada automáticamente">
            <a:extLst>
              <a:ext uri="{FF2B5EF4-FFF2-40B4-BE49-F238E27FC236}">
                <a16:creationId xmlns:a16="http://schemas.microsoft.com/office/drawing/2014/main" id="{8B03BFB3-69E3-49DC-90F8-3166CE4E1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5423" y="5057297"/>
            <a:ext cx="345067" cy="35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o 15">
            <a:extLst>
              <a:ext uri="{FF2B5EF4-FFF2-40B4-BE49-F238E27FC236}">
                <a16:creationId xmlns:a16="http://schemas.microsoft.com/office/drawing/2014/main" id="{41F6E8AB-EBE0-4F96-AA99-FF3F98B28CF8}"/>
              </a:ext>
            </a:extLst>
          </p:cNvPr>
          <p:cNvGrpSpPr/>
          <p:nvPr/>
        </p:nvGrpSpPr>
        <p:grpSpPr>
          <a:xfrm>
            <a:off x="24535" y="496"/>
            <a:ext cx="12034040" cy="6845768"/>
            <a:chOff x="0" y="-1"/>
            <a:chExt cx="12180273" cy="6858001"/>
          </a:xfrm>
        </p:grpSpPr>
        <p:grpSp>
          <p:nvGrpSpPr>
            <p:cNvPr id="20" name="Grupo 19">
              <a:extLst>
                <a:ext uri="{FF2B5EF4-FFF2-40B4-BE49-F238E27FC236}">
                  <a16:creationId xmlns:a16="http://schemas.microsoft.com/office/drawing/2014/main" id="{F81BF5D3-F210-4D41-8F55-ED3AE74A0B05}"/>
                </a:ext>
              </a:extLst>
            </p:cNvPr>
            <p:cNvGrpSpPr/>
            <p:nvPr/>
          </p:nvGrpSpPr>
          <p:grpSpPr>
            <a:xfrm>
              <a:off x="0" y="-1"/>
              <a:ext cx="12180273" cy="6858001"/>
              <a:chOff x="0" y="-1"/>
              <a:chExt cx="12180273" cy="6858001"/>
            </a:xfrm>
          </p:grpSpPr>
          <p:pic>
            <p:nvPicPr>
              <p:cNvPr id="74" name="Imagen 73">
                <a:extLst>
                  <a:ext uri="{FF2B5EF4-FFF2-40B4-BE49-F238E27FC236}">
                    <a16:creationId xmlns:a16="http://schemas.microsoft.com/office/drawing/2014/main" id="{6CB4204A-4587-499B-BDA2-A5648B4D10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939841" y="-1"/>
                <a:ext cx="9240432" cy="6858001"/>
              </a:xfrm>
              <a:prstGeom prst="rect">
                <a:avLst/>
              </a:prstGeom>
            </p:spPr>
          </p:pic>
          <p:sp>
            <p:nvSpPr>
              <p:cNvPr id="75" name="Rectángulo 74">
                <a:extLst>
                  <a:ext uri="{FF2B5EF4-FFF2-40B4-BE49-F238E27FC236}">
                    <a16:creationId xmlns:a16="http://schemas.microsoft.com/office/drawing/2014/main" id="{662901A8-D0A9-4811-A8A0-536A7BA3DA61}"/>
                  </a:ext>
                </a:extLst>
              </p:cNvPr>
              <p:cNvSpPr/>
              <p:nvPr/>
            </p:nvSpPr>
            <p:spPr>
              <a:xfrm>
                <a:off x="1" y="900558"/>
                <a:ext cx="2939840" cy="5957442"/>
              </a:xfrm>
              <a:prstGeom prst="rect">
                <a:avLst/>
              </a:prstGeom>
              <a:solidFill>
                <a:srgbClr val="47565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s-UY"/>
                </a:defPPr>
                <a:lvl1pPr marL="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6288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9260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389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85235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3151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77831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241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70436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UY" sz="2184"/>
              </a:p>
            </p:txBody>
          </p:sp>
          <p:sp>
            <p:nvSpPr>
              <p:cNvPr id="76" name="Rectángulo 75">
                <a:extLst>
                  <a:ext uri="{FF2B5EF4-FFF2-40B4-BE49-F238E27FC236}">
                    <a16:creationId xmlns:a16="http://schemas.microsoft.com/office/drawing/2014/main" id="{F19BD8C6-8F5A-4543-99CD-AEE1FE679894}"/>
                  </a:ext>
                </a:extLst>
              </p:cNvPr>
              <p:cNvSpPr/>
              <p:nvPr/>
            </p:nvSpPr>
            <p:spPr>
              <a:xfrm>
                <a:off x="0" y="0"/>
                <a:ext cx="3097161" cy="900557"/>
              </a:xfrm>
              <a:prstGeom prst="rect">
                <a:avLst/>
              </a:prstGeom>
              <a:solidFill>
                <a:srgbClr val="5B63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s-UY"/>
                </a:defPPr>
                <a:lvl1pPr marL="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6288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9260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389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85235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3151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77831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241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70436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UY" sz="2184"/>
              </a:p>
            </p:txBody>
          </p:sp>
        </p:grpSp>
        <p:sp>
          <p:nvSpPr>
            <p:cNvPr id="21" name="Flecha: a la derecha 20">
              <a:extLst>
                <a:ext uri="{FF2B5EF4-FFF2-40B4-BE49-F238E27FC236}">
                  <a16:creationId xmlns:a16="http://schemas.microsoft.com/office/drawing/2014/main" id="{0D92F1BB-E33A-44E9-B5DB-7BCB3A7D97E4}"/>
                </a:ext>
              </a:extLst>
            </p:cNvPr>
            <p:cNvSpPr/>
            <p:nvPr/>
          </p:nvSpPr>
          <p:spPr>
            <a:xfrm rot="20485320">
              <a:off x="4267278" y="5063894"/>
              <a:ext cx="4464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grpSp>
          <p:nvGrpSpPr>
            <p:cNvPr id="22" name="Grupo 21">
              <a:extLst>
                <a:ext uri="{FF2B5EF4-FFF2-40B4-BE49-F238E27FC236}">
                  <a16:creationId xmlns:a16="http://schemas.microsoft.com/office/drawing/2014/main" id="{6F84A269-483F-428D-A7D0-AE8B5B0D50A3}"/>
                </a:ext>
              </a:extLst>
            </p:cNvPr>
            <p:cNvGrpSpPr/>
            <p:nvPr/>
          </p:nvGrpSpPr>
          <p:grpSpPr>
            <a:xfrm>
              <a:off x="11138424" y="5600737"/>
              <a:ext cx="547441" cy="411070"/>
              <a:chOff x="11138424" y="5600737"/>
              <a:chExt cx="547441" cy="411070"/>
            </a:xfrm>
          </p:grpSpPr>
          <p:grpSp>
            <p:nvGrpSpPr>
              <p:cNvPr id="70" name="Grupo 69">
                <a:extLst>
                  <a:ext uri="{FF2B5EF4-FFF2-40B4-BE49-F238E27FC236}">
                    <a16:creationId xmlns:a16="http://schemas.microsoft.com/office/drawing/2014/main" id="{8A18F036-F010-4294-967B-B5132466BE0E}"/>
                  </a:ext>
                </a:extLst>
              </p:cNvPr>
              <p:cNvGrpSpPr/>
              <p:nvPr/>
            </p:nvGrpSpPr>
            <p:grpSpPr>
              <a:xfrm>
                <a:off x="11138424" y="5600737"/>
                <a:ext cx="547441" cy="411070"/>
                <a:chOff x="11138424" y="5600737"/>
                <a:chExt cx="547441" cy="411070"/>
              </a:xfrm>
            </p:grpSpPr>
            <p:sp>
              <p:nvSpPr>
                <p:cNvPr id="72" name="Diagrama de flujo: disco magnético 71">
                  <a:extLst>
                    <a:ext uri="{FF2B5EF4-FFF2-40B4-BE49-F238E27FC236}">
                      <a16:creationId xmlns:a16="http://schemas.microsoft.com/office/drawing/2014/main" id="{55F1E44D-4054-4CC4-88D5-BD0EC8B55FDD}"/>
                    </a:ext>
                  </a:extLst>
                </p:cNvPr>
                <p:cNvSpPr/>
                <p:nvPr/>
              </p:nvSpPr>
              <p:spPr>
                <a:xfrm>
                  <a:off x="11138424" y="5600737"/>
                  <a:ext cx="546035" cy="411070"/>
                </a:xfrm>
                <a:prstGeom prst="flowChartMagneticDisk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s-UY"/>
                  </a:defPPr>
                  <a:lvl1pPr marL="0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6288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92603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38910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85235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31513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77831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24110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70436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s-UY" sz="2184"/>
                </a:p>
              </p:txBody>
            </p:sp>
            <p:sp>
              <p:nvSpPr>
                <p:cNvPr id="73" name="Elipse 72">
                  <a:extLst>
                    <a:ext uri="{FF2B5EF4-FFF2-40B4-BE49-F238E27FC236}">
                      <a16:creationId xmlns:a16="http://schemas.microsoft.com/office/drawing/2014/main" id="{8259C74A-AD41-482B-8408-BCF4F711707A}"/>
                    </a:ext>
                  </a:extLst>
                </p:cNvPr>
                <p:cNvSpPr/>
                <p:nvPr/>
              </p:nvSpPr>
              <p:spPr>
                <a:xfrm>
                  <a:off x="11139829" y="5600737"/>
                  <a:ext cx="546036" cy="124615"/>
                </a:xfrm>
                <a:prstGeom prst="ellipse">
                  <a:avLst/>
                </a:prstGeom>
                <a:solidFill>
                  <a:srgbClr val="007A3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s-UY"/>
                  </a:defPPr>
                  <a:lvl1pPr marL="0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6288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92603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38910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85235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31513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77831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24110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70436" algn="l" defTabSz="692603" rtl="0" eaLnBrk="1" latinLnBrk="0" hangingPunct="1">
                    <a:defRPr sz="183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s-UY" sz="2184"/>
                </a:p>
              </p:txBody>
            </p:sp>
          </p:grpSp>
          <p:sp>
            <p:nvSpPr>
              <p:cNvPr id="71" name="CuadroTexto 20">
                <a:extLst>
                  <a:ext uri="{FF2B5EF4-FFF2-40B4-BE49-F238E27FC236}">
                    <a16:creationId xmlns:a16="http://schemas.microsoft.com/office/drawing/2014/main" id="{B0D7B64B-EB04-4529-9803-0AD1BC7C835B}"/>
                  </a:ext>
                </a:extLst>
              </p:cNvPr>
              <p:cNvSpPr txBox="1"/>
              <p:nvPr/>
            </p:nvSpPr>
            <p:spPr>
              <a:xfrm>
                <a:off x="11153742" y="5751492"/>
                <a:ext cx="527050" cy="25908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>
                <a:defPPr>
                  <a:defRPr lang="es-UY"/>
                </a:defPPr>
                <a:lvl1pPr marL="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6288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9260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389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85235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3151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77831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241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70436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7000"/>
                  </a:lnSpc>
                  <a:spcAft>
                    <a:spcPts val="874"/>
                  </a:spcAft>
                </a:pPr>
                <a:r>
                  <a:rPr lang="es-ES" sz="546" b="1">
                    <a:solidFill>
                      <a:srgbClr val="364745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ombustibles</a:t>
                </a:r>
                <a:r>
                  <a:rPr lang="es-ES" sz="546" b="1">
                    <a:solidFill>
                      <a:srgbClr val="364744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s-ES" sz="546" b="1">
                    <a:solidFill>
                      <a:srgbClr val="364745"/>
                    </a:solidFill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intéticos</a:t>
                </a:r>
                <a:endParaRPr lang="es-UY" sz="1201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9908CE91-67B0-411D-9C25-1EFD2AC5F6E0}"/>
                </a:ext>
              </a:extLst>
            </p:cNvPr>
            <p:cNvGrpSpPr/>
            <p:nvPr/>
          </p:nvGrpSpPr>
          <p:grpSpPr>
            <a:xfrm>
              <a:off x="3588751" y="5309667"/>
              <a:ext cx="800100" cy="695051"/>
              <a:chOff x="3588751" y="5309667"/>
              <a:chExt cx="800100" cy="695051"/>
            </a:xfrm>
          </p:grpSpPr>
          <p:sp>
            <p:nvSpPr>
              <p:cNvPr id="66" name="Diagrama de flujo: terminador 65">
                <a:extLst>
                  <a:ext uri="{FF2B5EF4-FFF2-40B4-BE49-F238E27FC236}">
                    <a16:creationId xmlns:a16="http://schemas.microsoft.com/office/drawing/2014/main" id="{516FB34E-5266-4242-8082-25695C7C8781}"/>
                  </a:ext>
                </a:extLst>
              </p:cNvPr>
              <p:cNvSpPr/>
              <p:nvPr/>
            </p:nvSpPr>
            <p:spPr>
              <a:xfrm>
                <a:off x="3588751" y="5309667"/>
                <a:ext cx="800100" cy="349250"/>
              </a:xfrm>
              <a:prstGeom prst="flowChartTerminator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s-UY"/>
                </a:defPPr>
                <a:lvl1pPr marL="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6288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9260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389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85235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3151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77831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241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70436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UY" sz="2184"/>
              </a:p>
            </p:txBody>
          </p:sp>
          <p:sp>
            <p:nvSpPr>
              <p:cNvPr id="67" name="CuadroTexto 24">
                <a:extLst>
                  <a:ext uri="{FF2B5EF4-FFF2-40B4-BE49-F238E27FC236}">
                    <a16:creationId xmlns:a16="http://schemas.microsoft.com/office/drawing/2014/main" id="{216CF673-33E0-4B90-9084-333457D92E36}"/>
                  </a:ext>
                </a:extLst>
              </p:cNvPr>
              <p:cNvSpPr txBox="1"/>
              <p:nvPr/>
            </p:nvSpPr>
            <p:spPr>
              <a:xfrm>
                <a:off x="3782326" y="5442759"/>
                <a:ext cx="467360" cy="1962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>
                <a:defPPr>
                  <a:defRPr lang="es-UY"/>
                </a:defPPr>
                <a:lvl1pPr marL="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6288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9260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389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85235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3151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77831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241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70436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7000"/>
                  </a:lnSpc>
                  <a:spcAft>
                    <a:spcPts val="874"/>
                  </a:spcAft>
                </a:pPr>
                <a:r>
                  <a:rPr lang="es-ES" sz="1092" b="1" dirty="0">
                    <a:solidFill>
                      <a:srgbClr val="364745"/>
                    </a:solidFill>
                    <a:latin typeface="Arial Narrow" panose="020B060602020203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IGCC</a:t>
                </a:r>
                <a:endParaRPr lang="es-UY" sz="1092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8" name="Diagrama de flujo: terminador 67">
                <a:extLst>
                  <a:ext uri="{FF2B5EF4-FFF2-40B4-BE49-F238E27FC236}">
                    <a16:creationId xmlns:a16="http://schemas.microsoft.com/office/drawing/2014/main" id="{213A6800-154F-444B-9A87-CD5C0BBFFA0E}"/>
                  </a:ext>
                </a:extLst>
              </p:cNvPr>
              <p:cNvSpPr/>
              <p:nvPr/>
            </p:nvSpPr>
            <p:spPr>
              <a:xfrm>
                <a:off x="3588751" y="5655468"/>
                <a:ext cx="800100" cy="349250"/>
              </a:xfrm>
              <a:prstGeom prst="flowChartTerminator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s-UY"/>
                </a:defPPr>
                <a:lvl1pPr marL="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6288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9260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389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85235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3151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77831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241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70436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UY" sz="2184"/>
              </a:p>
            </p:txBody>
          </p:sp>
          <p:sp>
            <p:nvSpPr>
              <p:cNvPr id="69" name="CuadroTexto 26">
                <a:extLst>
                  <a:ext uri="{FF2B5EF4-FFF2-40B4-BE49-F238E27FC236}">
                    <a16:creationId xmlns:a16="http://schemas.microsoft.com/office/drawing/2014/main" id="{BB0F2CFC-1157-48CB-AAC6-A326EDB65EE9}"/>
                  </a:ext>
                </a:extLst>
              </p:cNvPr>
              <p:cNvSpPr txBox="1"/>
              <p:nvPr/>
            </p:nvSpPr>
            <p:spPr>
              <a:xfrm>
                <a:off x="3782317" y="5770689"/>
                <a:ext cx="452683" cy="1719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>
                <a:defPPr>
                  <a:defRPr lang="es-UY"/>
                </a:defPPr>
                <a:lvl1pPr marL="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6288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9260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389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85235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31513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77831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24110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70436" algn="l" defTabSz="692603" rtl="0" eaLnBrk="1" latinLnBrk="0" hangingPunct="1">
                  <a:defRPr sz="183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7000"/>
                  </a:lnSpc>
                  <a:spcAft>
                    <a:spcPts val="874"/>
                  </a:spcAft>
                </a:pPr>
                <a:r>
                  <a:rPr lang="es-ES" sz="1092" b="1">
                    <a:solidFill>
                      <a:srgbClr val="364745"/>
                    </a:solidFill>
                    <a:latin typeface="Arial Narrow" panose="020B060602020203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IGFT</a:t>
                </a:r>
                <a:endParaRPr lang="es-UY" sz="1092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5" name="Rayo 24">
              <a:extLst>
                <a:ext uri="{FF2B5EF4-FFF2-40B4-BE49-F238E27FC236}">
                  <a16:creationId xmlns:a16="http://schemas.microsoft.com/office/drawing/2014/main" id="{4975DDC7-4190-49BA-B1B6-8FA9FDD8A216}"/>
                </a:ext>
              </a:extLst>
            </p:cNvPr>
            <p:cNvSpPr/>
            <p:nvPr/>
          </p:nvSpPr>
          <p:spPr>
            <a:xfrm>
              <a:off x="3910361" y="4979775"/>
              <a:ext cx="180000" cy="180000"/>
            </a:xfrm>
            <a:prstGeom prst="lightningBol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26" name="Flecha: a la derecha 25">
              <a:extLst>
                <a:ext uri="{FF2B5EF4-FFF2-40B4-BE49-F238E27FC236}">
                  <a16:creationId xmlns:a16="http://schemas.microsoft.com/office/drawing/2014/main" id="{59269DBC-BFE9-414F-92DE-DBAC901530CA}"/>
                </a:ext>
              </a:extLst>
            </p:cNvPr>
            <p:cNvSpPr/>
            <p:nvPr/>
          </p:nvSpPr>
          <p:spPr>
            <a:xfrm rot="16200000">
              <a:off x="3926091" y="5230347"/>
              <a:ext cx="18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27" name="Flecha: a la derecha 26">
              <a:extLst>
                <a:ext uri="{FF2B5EF4-FFF2-40B4-BE49-F238E27FC236}">
                  <a16:creationId xmlns:a16="http://schemas.microsoft.com/office/drawing/2014/main" id="{082B1A4C-DA09-4B7B-9AE6-1B61D6C08007}"/>
                </a:ext>
              </a:extLst>
            </p:cNvPr>
            <p:cNvSpPr/>
            <p:nvPr/>
          </p:nvSpPr>
          <p:spPr>
            <a:xfrm>
              <a:off x="4356027" y="5789311"/>
              <a:ext cx="6768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28" name="Flecha: a la derecha 27">
              <a:extLst>
                <a:ext uri="{FF2B5EF4-FFF2-40B4-BE49-F238E27FC236}">
                  <a16:creationId xmlns:a16="http://schemas.microsoft.com/office/drawing/2014/main" id="{38BC4325-C2AD-4EA1-9F67-80A8CBD44ABA}"/>
                </a:ext>
              </a:extLst>
            </p:cNvPr>
            <p:cNvSpPr/>
            <p:nvPr/>
          </p:nvSpPr>
          <p:spPr>
            <a:xfrm rot="17930092">
              <a:off x="4037746" y="5192380"/>
              <a:ext cx="1332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29" name="Flecha: a la derecha 28">
              <a:extLst>
                <a:ext uri="{FF2B5EF4-FFF2-40B4-BE49-F238E27FC236}">
                  <a16:creationId xmlns:a16="http://schemas.microsoft.com/office/drawing/2014/main" id="{B6E2528B-B31A-4B70-B289-018EC8BE4011}"/>
                </a:ext>
              </a:extLst>
            </p:cNvPr>
            <p:cNvSpPr/>
            <p:nvPr/>
          </p:nvSpPr>
          <p:spPr>
            <a:xfrm rot="20351481">
              <a:off x="4244547" y="5218747"/>
              <a:ext cx="324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30" name="Flecha: a la derecha 29">
              <a:extLst>
                <a:ext uri="{FF2B5EF4-FFF2-40B4-BE49-F238E27FC236}">
                  <a16:creationId xmlns:a16="http://schemas.microsoft.com/office/drawing/2014/main" id="{2A4746A9-8C6B-4653-A891-C34F4640F9CA}"/>
                </a:ext>
              </a:extLst>
            </p:cNvPr>
            <p:cNvSpPr/>
            <p:nvPr/>
          </p:nvSpPr>
          <p:spPr>
            <a:xfrm rot="19061722">
              <a:off x="3860099" y="4388061"/>
              <a:ext cx="4068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31" name="Flecha: a la derecha 30">
              <a:extLst>
                <a:ext uri="{FF2B5EF4-FFF2-40B4-BE49-F238E27FC236}">
                  <a16:creationId xmlns:a16="http://schemas.microsoft.com/office/drawing/2014/main" id="{8A48847D-7BDA-4E3F-8448-6C263D6948F2}"/>
                </a:ext>
              </a:extLst>
            </p:cNvPr>
            <p:cNvSpPr/>
            <p:nvPr/>
          </p:nvSpPr>
          <p:spPr>
            <a:xfrm>
              <a:off x="2523090" y="5505329"/>
              <a:ext cx="820702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32" name="Flecha: a la derecha 31">
              <a:extLst>
                <a:ext uri="{FF2B5EF4-FFF2-40B4-BE49-F238E27FC236}">
                  <a16:creationId xmlns:a16="http://schemas.microsoft.com/office/drawing/2014/main" id="{D7C900A8-D0B7-40DA-ACDC-343B5AE7179D}"/>
                </a:ext>
              </a:extLst>
            </p:cNvPr>
            <p:cNvSpPr/>
            <p:nvPr/>
          </p:nvSpPr>
          <p:spPr>
            <a:xfrm>
              <a:off x="2119970" y="5767113"/>
              <a:ext cx="1231054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47CC8318-7F47-44CD-A895-7EC8EBB323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31874" t="10150" r="26568" b="8679"/>
            <a:stretch/>
          </p:blipFill>
          <p:spPr>
            <a:xfrm>
              <a:off x="2895596" y="3589894"/>
              <a:ext cx="245800" cy="418996"/>
            </a:xfrm>
            <a:prstGeom prst="roundRect">
              <a:avLst>
                <a:gd name="adj" fmla="val 35182"/>
              </a:avLst>
            </a:prstGeom>
          </p:spPr>
        </p:pic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81F013B1-DC2F-4C06-9780-4C9384132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790512" y="3194790"/>
              <a:ext cx="465667" cy="349250"/>
            </a:xfrm>
            <a:prstGeom prst="rect">
              <a:avLst/>
            </a:prstGeom>
          </p:spPr>
        </p:pic>
        <p:sp>
          <p:nvSpPr>
            <p:cNvPr id="35" name="Flecha: a la derecha 34">
              <a:extLst>
                <a:ext uri="{FF2B5EF4-FFF2-40B4-BE49-F238E27FC236}">
                  <a16:creationId xmlns:a16="http://schemas.microsoft.com/office/drawing/2014/main" id="{50920707-8449-4E15-B861-C46F566D189A}"/>
                </a:ext>
              </a:extLst>
            </p:cNvPr>
            <p:cNvSpPr/>
            <p:nvPr/>
          </p:nvSpPr>
          <p:spPr>
            <a:xfrm rot="371549">
              <a:off x="3194099" y="3871920"/>
              <a:ext cx="540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36" name="Flecha: a la derecha 35">
              <a:extLst>
                <a:ext uri="{FF2B5EF4-FFF2-40B4-BE49-F238E27FC236}">
                  <a16:creationId xmlns:a16="http://schemas.microsoft.com/office/drawing/2014/main" id="{E08DFFE5-E067-49BD-BF2C-7E967A3D5E3A}"/>
                </a:ext>
              </a:extLst>
            </p:cNvPr>
            <p:cNvSpPr/>
            <p:nvPr/>
          </p:nvSpPr>
          <p:spPr>
            <a:xfrm rot="21262121">
              <a:off x="3166522" y="4717437"/>
              <a:ext cx="4210203" cy="56048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pic>
          <p:nvPicPr>
            <p:cNvPr id="37" name="Imagen 36">
              <a:extLst>
                <a:ext uri="{FF2B5EF4-FFF2-40B4-BE49-F238E27FC236}">
                  <a16:creationId xmlns:a16="http://schemas.microsoft.com/office/drawing/2014/main" id="{81903EF6-72BC-4B05-B17E-2051780001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70624" y="5599097"/>
              <a:ext cx="657824" cy="385296"/>
            </a:xfrm>
            <a:prstGeom prst="rect">
              <a:avLst/>
            </a:prstGeom>
          </p:spPr>
        </p:pic>
        <p:sp>
          <p:nvSpPr>
            <p:cNvPr id="38" name="Flecha: a la derecha 37">
              <a:extLst>
                <a:ext uri="{FF2B5EF4-FFF2-40B4-BE49-F238E27FC236}">
                  <a16:creationId xmlns:a16="http://schemas.microsoft.com/office/drawing/2014/main" id="{1B69A296-34F2-431F-B3D5-CEFFAD1E8B94}"/>
                </a:ext>
              </a:extLst>
            </p:cNvPr>
            <p:cNvSpPr/>
            <p:nvPr/>
          </p:nvSpPr>
          <p:spPr>
            <a:xfrm rot="603341">
              <a:off x="3174941" y="3995461"/>
              <a:ext cx="4428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39" name="CuadroTexto 18">
              <a:extLst>
                <a:ext uri="{FF2B5EF4-FFF2-40B4-BE49-F238E27FC236}">
                  <a16:creationId xmlns:a16="http://schemas.microsoft.com/office/drawing/2014/main" id="{6C89F7A7-4AA6-4C6B-9179-946F1AB81741}"/>
                </a:ext>
              </a:extLst>
            </p:cNvPr>
            <p:cNvSpPr txBox="1"/>
            <p:nvPr/>
          </p:nvSpPr>
          <p:spPr>
            <a:xfrm>
              <a:off x="1991382" y="5175995"/>
              <a:ext cx="696262" cy="1962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Biomasa</a:t>
              </a:r>
              <a:endParaRPr lang="es-UY" sz="120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CuadroTexto 19">
              <a:extLst>
                <a:ext uri="{FF2B5EF4-FFF2-40B4-BE49-F238E27FC236}">
                  <a16:creationId xmlns:a16="http://schemas.microsoft.com/office/drawing/2014/main" id="{A058E098-A720-4842-8675-A9759ED35C64}"/>
                </a:ext>
              </a:extLst>
            </p:cNvPr>
            <p:cNvSpPr txBox="1"/>
            <p:nvPr/>
          </p:nvSpPr>
          <p:spPr>
            <a:xfrm>
              <a:off x="449930" y="5416687"/>
              <a:ext cx="296788" cy="1962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SU</a:t>
              </a:r>
              <a:endParaRPr lang="es-UY" sz="120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CuadroTexto 22">
              <a:extLst>
                <a:ext uri="{FF2B5EF4-FFF2-40B4-BE49-F238E27FC236}">
                  <a16:creationId xmlns:a16="http://schemas.microsoft.com/office/drawing/2014/main" id="{BEFECB6B-3CF5-4808-A4C7-7CF32DFCA479}"/>
                </a:ext>
              </a:extLst>
            </p:cNvPr>
            <p:cNvSpPr txBox="1"/>
            <p:nvPr/>
          </p:nvSpPr>
          <p:spPr>
            <a:xfrm>
              <a:off x="2287635" y="4778578"/>
              <a:ext cx="1165737" cy="1962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 dirty="0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esiduos plásticos</a:t>
              </a:r>
              <a:endParaRPr lang="es-UY" sz="120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CuadroTexto 28">
              <a:extLst>
                <a:ext uri="{FF2B5EF4-FFF2-40B4-BE49-F238E27FC236}">
                  <a16:creationId xmlns:a16="http://schemas.microsoft.com/office/drawing/2014/main" id="{2973EF16-7DBC-4B66-BD8D-2893350AFACA}"/>
                </a:ext>
              </a:extLst>
            </p:cNvPr>
            <p:cNvSpPr txBox="1"/>
            <p:nvPr/>
          </p:nvSpPr>
          <p:spPr>
            <a:xfrm>
              <a:off x="3345658" y="3094463"/>
              <a:ext cx="1529377" cy="6087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aterias grasas (preferentemente no comestibles)</a:t>
              </a:r>
              <a:endParaRPr lang="es-UY" sz="120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Flecha: a la derecha 42">
              <a:extLst>
                <a:ext uri="{FF2B5EF4-FFF2-40B4-BE49-F238E27FC236}">
                  <a16:creationId xmlns:a16="http://schemas.microsoft.com/office/drawing/2014/main" id="{47C85168-A356-46B8-9505-5495EF01BF7F}"/>
                </a:ext>
              </a:extLst>
            </p:cNvPr>
            <p:cNvSpPr/>
            <p:nvPr/>
          </p:nvSpPr>
          <p:spPr>
            <a:xfrm>
              <a:off x="1991377" y="4434376"/>
              <a:ext cx="540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44" name="Diagrama de flujo: terminador 43">
              <a:extLst>
                <a:ext uri="{FF2B5EF4-FFF2-40B4-BE49-F238E27FC236}">
                  <a16:creationId xmlns:a16="http://schemas.microsoft.com/office/drawing/2014/main" id="{E1C6BFA0-958B-43F8-AFB4-A17C12629102}"/>
                </a:ext>
              </a:extLst>
            </p:cNvPr>
            <p:cNvSpPr/>
            <p:nvPr/>
          </p:nvSpPr>
          <p:spPr>
            <a:xfrm>
              <a:off x="1243535" y="4102507"/>
              <a:ext cx="800100" cy="349250"/>
            </a:xfrm>
            <a:prstGeom prst="flowChartTerminator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45" name="CuadroTexto 53">
              <a:extLst>
                <a:ext uri="{FF2B5EF4-FFF2-40B4-BE49-F238E27FC236}">
                  <a16:creationId xmlns:a16="http://schemas.microsoft.com/office/drawing/2014/main" id="{3ACD000C-5A1D-44FF-8DD4-BFF0A57E6F6B}"/>
                </a:ext>
              </a:extLst>
            </p:cNvPr>
            <p:cNvSpPr txBox="1"/>
            <p:nvPr/>
          </p:nvSpPr>
          <p:spPr>
            <a:xfrm>
              <a:off x="1285512" y="4163254"/>
              <a:ext cx="721719" cy="1962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 dirty="0">
                  <a:solidFill>
                    <a:srgbClr val="364745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HP/HTAP</a:t>
              </a:r>
              <a:endParaRPr lang="es-UY" sz="1092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Diagrama de flujo: terminador 45">
              <a:extLst>
                <a:ext uri="{FF2B5EF4-FFF2-40B4-BE49-F238E27FC236}">
                  <a16:creationId xmlns:a16="http://schemas.microsoft.com/office/drawing/2014/main" id="{FB558B26-45CA-4D9F-BEC4-CCE28906173F}"/>
                </a:ext>
              </a:extLst>
            </p:cNvPr>
            <p:cNvSpPr/>
            <p:nvPr/>
          </p:nvSpPr>
          <p:spPr>
            <a:xfrm>
              <a:off x="1243535" y="4448308"/>
              <a:ext cx="800100" cy="349250"/>
            </a:xfrm>
            <a:prstGeom prst="flowChartTerminator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47" name="CuadroTexto 55">
              <a:extLst>
                <a:ext uri="{FF2B5EF4-FFF2-40B4-BE49-F238E27FC236}">
                  <a16:creationId xmlns:a16="http://schemas.microsoft.com/office/drawing/2014/main" id="{248B7EC8-BD8D-485B-A21F-F87629BA9347}"/>
                </a:ext>
              </a:extLst>
            </p:cNvPr>
            <p:cNvSpPr txBox="1"/>
            <p:nvPr/>
          </p:nvSpPr>
          <p:spPr>
            <a:xfrm>
              <a:off x="1414206" y="4529216"/>
              <a:ext cx="467360" cy="1875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 dirty="0">
                  <a:solidFill>
                    <a:srgbClr val="364745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HTL</a:t>
              </a:r>
              <a:endParaRPr lang="es-UY" sz="1092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Flecha: a la derecha 47">
              <a:extLst>
                <a:ext uri="{FF2B5EF4-FFF2-40B4-BE49-F238E27FC236}">
                  <a16:creationId xmlns:a16="http://schemas.microsoft.com/office/drawing/2014/main" id="{34075976-95C9-4794-8AD0-6758CC161AB6}"/>
                </a:ext>
              </a:extLst>
            </p:cNvPr>
            <p:cNvSpPr/>
            <p:nvPr/>
          </p:nvSpPr>
          <p:spPr>
            <a:xfrm>
              <a:off x="922652" y="4421507"/>
              <a:ext cx="36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pic>
          <p:nvPicPr>
            <p:cNvPr id="49" name="Picture 4" descr="Biomass - Bio Polus global">
              <a:extLst>
                <a:ext uri="{FF2B5EF4-FFF2-40B4-BE49-F238E27FC236}">
                  <a16:creationId xmlns:a16="http://schemas.microsoft.com/office/drawing/2014/main" id="{7084BDE2-C1AF-438C-BC9C-D8E21ED61B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061" y="4021033"/>
              <a:ext cx="614596" cy="4163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Imagen 49">
              <a:extLst>
                <a:ext uri="{FF2B5EF4-FFF2-40B4-BE49-F238E27FC236}">
                  <a16:creationId xmlns:a16="http://schemas.microsoft.com/office/drawing/2014/main" id="{968BA59F-2A19-4F3C-9F1B-E0898E10B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16373" y="4383479"/>
              <a:ext cx="349250" cy="349250"/>
            </a:xfrm>
            <a:prstGeom prst="rect">
              <a:avLst/>
            </a:prstGeom>
          </p:spPr>
        </p:pic>
        <p:sp>
          <p:nvSpPr>
            <p:cNvPr id="51" name="CuadroTexto 59">
              <a:extLst>
                <a:ext uri="{FF2B5EF4-FFF2-40B4-BE49-F238E27FC236}">
                  <a16:creationId xmlns:a16="http://schemas.microsoft.com/office/drawing/2014/main" id="{867041BC-04FB-425E-811A-FBB257CCFE61}"/>
                </a:ext>
              </a:extLst>
            </p:cNvPr>
            <p:cNvSpPr txBox="1"/>
            <p:nvPr/>
          </p:nvSpPr>
          <p:spPr>
            <a:xfrm>
              <a:off x="2679453" y="4304230"/>
              <a:ext cx="727446" cy="1962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Bioaceite</a:t>
              </a:r>
              <a:endParaRPr lang="es-UY" sz="120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CuadroTexto 2">
              <a:extLst>
                <a:ext uri="{FF2B5EF4-FFF2-40B4-BE49-F238E27FC236}">
                  <a16:creationId xmlns:a16="http://schemas.microsoft.com/office/drawing/2014/main" id="{7B25D4EE-2513-43D0-B0D7-0D1C9D4A5C3E}"/>
                </a:ext>
              </a:extLst>
            </p:cNvPr>
            <p:cNvSpPr txBox="1"/>
            <p:nvPr/>
          </p:nvSpPr>
          <p:spPr>
            <a:xfrm>
              <a:off x="49596" y="4021044"/>
              <a:ext cx="829352" cy="10489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 dirty="0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Biomasa y residuos</a:t>
              </a:r>
              <a:endParaRPr lang="es-UY" sz="120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 dirty="0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esiduos plásticos</a:t>
              </a:r>
              <a:endParaRPr lang="es-UY" sz="120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Diagrama de flujo: terminador 52">
              <a:extLst>
                <a:ext uri="{FF2B5EF4-FFF2-40B4-BE49-F238E27FC236}">
                  <a16:creationId xmlns:a16="http://schemas.microsoft.com/office/drawing/2014/main" id="{2011F261-986D-4F45-8724-96CC7629BF28}"/>
                </a:ext>
              </a:extLst>
            </p:cNvPr>
            <p:cNvSpPr/>
            <p:nvPr/>
          </p:nvSpPr>
          <p:spPr>
            <a:xfrm>
              <a:off x="1319809" y="5623013"/>
              <a:ext cx="800100" cy="349250"/>
            </a:xfrm>
            <a:prstGeom prst="flowChartTerminator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54" name="CuadroTexto 7">
              <a:extLst>
                <a:ext uri="{FF2B5EF4-FFF2-40B4-BE49-F238E27FC236}">
                  <a16:creationId xmlns:a16="http://schemas.microsoft.com/office/drawing/2014/main" id="{B1DB7D9F-3100-45BC-97A7-4FFF3CBD791F}"/>
                </a:ext>
              </a:extLst>
            </p:cNvPr>
            <p:cNvSpPr txBox="1"/>
            <p:nvPr/>
          </p:nvSpPr>
          <p:spPr>
            <a:xfrm>
              <a:off x="1271013" y="5693559"/>
              <a:ext cx="866817" cy="2764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 dirty="0">
                  <a:solidFill>
                    <a:srgbClr val="364745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lasificación</a:t>
              </a:r>
              <a:endParaRPr lang="es-UY" sz="1092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Flecha: a la derecha 54">
              <a:extLst>
                <a:ext uri="{FF2B5EF4-FFF2-40B4-BE49-F238E27FC236}">
                  <a16:creationId xmlns:a16="http://schemas.microsoft.com/office/drawing/2014/main" id="{BA414BEB-9A52-43C4-A9DA-602145903CE9}"/>
                </a:ext>
              </a:extLst>
            </p:cNvPr>
            <p:cNvSpPr/>
            <p:nvPr/>
          </p:nvSpPr>
          <p:spPr>
            <a:xfrm>
              <a:off x="954271" y="5761810"/>
              <a:ext cx="36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pic>
          <p:nvPicPr>
            <p:cNvPr id="56" name="Picture 4" descr="Biomass - Bio Polus global">
              <a:extLst>
                <a:ext uri="{FF2B5EF4-FFF2-40B4-BE49-F238E27FC236}">
                  <a16:creationId xmlns:a16="http://schemas.microsoft.com/office/drawing/2014/main" id="{31793880-C620-4096-8ABB-FD89299C62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402" y="5291615"/>
              <a:ext cx="614596" cy="4163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Gráfico 49" descr="Paneles solares contorno">
              <a:extLst>
                <a:ext uri="{FF2B5EF4-FFF2-40B4-BE49-F238E27FC236}">
                  <a16:creationId xmlns:a16="http://schemas.microsoft.com/office/drawing/2014/main" id="{153EB3BC-AB5B-4EBC-9398-375B9EC3E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043091" y="6324815"/>
              <a:ext cx="497931" cy="497931"/>
            </a:xfrm>
            <a:prstGeom prst="rect">
              <a:avLst/>
            </a:prstGeom>
          </p:spPr>
        </p:pic>
        <p:pic>
          <p:nvPicPr>
            <p:cNvPr id="58" name="Gráfico 51" descr="Turbinas de viento contorno">
              <a:extLst>
                <a:ext uri="{FF2B5EF4-FFF2-40B4-BE49-F238E27FC236}">
                  <a16:creationId xmlns:a16="http://schemas.microsoft.com/office/drawing/2014/main" id="{97FC0B3C-3F3D-41DC-9B4F-1C276615D2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446927" y="6250472"/>
              <a:ext cx="547606" cy="547606"/>
            </a:xfrm>
            <a:prstGeom prst="rect">
              <a:avLst/>
            </a:prstGeom>
          </p:spPr>
        </p:pic>
        <p:pic>
          <p:nvPicPr>
            <p:cNvPr id="59" name="Imagen 58">
              <a:extLst>
                <a:ext uri="{FF2B5EF4-FFF2-40B4-BE49-F238E27FC236}">
                  <a16:creationId xmlns:a16="http://schemas.microsoft.com/office/drawing/2014/main" id="{6E197925-D525-49B8-ABC8-571D73FB2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3473435" y="6323578"/>
              <a:ext cx="547606" cy="476179"/>
            </a:xfrm>
            <a:prstGeom prst="rect">
              <a:avLst/>
            </a:prstGeom>
          </p:spPr>
        </p:pic>
        <p:sp>
          <p:nvSpPr>
            <p:cNvPr id="60" name="Flecha: a la derecha 59">
              <a:extLst>
                <a:ext uri="{FF2B5EF4-FFF2-40B4-BE49-F238E27FC236}">
                  <a16:creationId xmlns:a16="http://schemas.microsoft.com/office/drawing/2014/main" id="{2A19131D-56AE-45A1-A126-C5BC49333754}"/>
                </a:ext>
              </a:extLst>
            </p:cNvPr>
            <p:cNvSpPr/>
            <p:nvPr/>
          </p:nvSpPr>
          <p:spPr>
            <a:xfrm rot="16200000">
              <a:off x="3603144" y="6140665"/>
              <a:ext cx="288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sp>
          <p:nvSpPr>
            <p:cNvPr id="61" name="CuadroTexto 1023">
              <a:extLst>
                <a:ext uri="{FF2B5EF4-FFF2-40B4-BE49-F238E27FC236}">
                  <a16:creationId xmlns:a16="http://schemas.microsoft.com/office/drawing/2014/main" id="{2D08B449-9759-4EF5-B0FD-6AE794451995}"/>
                </a:ext>
              </a:extLst>
            </p:cNvPr>
            <p:cNvSpPr txBox="1"/>
            <p:nvPr/>
          </p:nvSpPr>
          <p:spPr>
            <a:xfrm>
              <a:off x="3781917" y="6129352"/>
              <a:ext cx="589019" cy="2152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74"/>
                </a:spcAft>
              </a:pPr>
              <a:r>
                <a:rPr lang="es-ES" sz="1092" b="1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H</a:t>
              </a:r>
              <a:r>
                <a:rPr lang="es-ES" sz="1092" b="1" baseline="-25000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2</a:t>
              </a:r>
              <a:r>
                <a:rPr lang="es-ES" sz="1092" b="1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verde</a:t>
              </a:r>
              <a:endParaRPr lang="es-UY" sz="120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62" name="Imagen 61">
              <a:extLst>
                <a:ext uri="{FF2B5EF4-FFF2-40B4-BE49-F238E27FC236}">
                  <a16:creationId xmlns:a16="http://schemas.microsoft.com/office/drawing/2014/main" id="{43DA3F14-70C4-4E19-AADA-B5CC8B3FB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905037" y="6184379"/>
              <a:ext cx="653030" cy="644658"/>
            </a:xfrm>
            <a:prstGeom prst="rect">
              <a:avLst/>
            </a:prstGeom>
          </p:spPr>
        </p:pic>
        <p:sp>
          <p:nvSpPr>
            <p:cNvPr id="63" name="Flecha: a la derecha 62">
              <a:extLst>
                <a:ext uri="{FF2B5EF4-FFF2-40B4-BE49-F238E27FC236}">
                  <a16:creationId xmlns:a16="http://schemas.microsoft.com/office/drawing/2014/main" id="{5F5BCCBD-138E-4F67-AB62-D18FCDBDF490}"/>
                </a:ext>
              </a:extLst>
            </p:cNvPr>
            <p:cNvSpPr/>
            <p:nvPr/>
          </p:nvSpPr>
          <p:spPr>
            <a:xfrm rot="19801560">
              <a:off x="2502525" y="6332344"/>
              <a:ext cx="126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  <p:pic>
          <p:nvPicPr>
            <p:cNvPr id="64" name="Imagen 63">
              <a:extLst>
                <a:ext uri="{FF2B5EF4-FFF2-40B4-BE49-F238E27FC236}">
                  <a16:creationId xmlns:a16="http://schemas.microsoft.com/office/drawing/2014/main" id="{45E67940-9D05-43FE-9666-B8F84B17F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332769" y="3395802"/>
              <a:ext cx="720000" cy="435484"/>
            </a:xfrm>
            <a:prstGeom prst="rect">
              <a:avLst/>
            </a:prstGeom>
          </p:spPr>
        </p:pic>
        <p:sp>
          <p:nvSpPr>
            <p:cNvPr id="65" name="Flecha: a la derecha 64">
              <a:extLst>
                <a:ext uri="{FF2B5EF4-FFF2-40B4-BE49-F238E27FC236}">
                  <a16:creationId xmlns:a16="http://schemas.microsoft.com/office/drawing/2014/main" id="{773E7947-644D-4612-A2ED-61C70542ED9A}"/>
                </a:ext>
              </a:extLst>
            </p:cNvPr>
            <p:cNvSpPr/>
            <p:nvPr/>
          </p:nvSpPr>
          <p:spPr>
            <a:xfrm>
              <a:off x="2088575" y="3584894"/>
              <a:ext cx="720000" cy="54000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-UY"/>
              </a:defPPr>
              <a:lvl1pPr marL="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6288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260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389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85235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31513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77831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24110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70436" algn="l" defTabSz="692603" rtl="0" eaLnBrk="1" latinLnBrk="0" hangingPunct="1">
                <a:defRPr sz="183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UY" sz="2184"/>
            </a:p>
          </p:txBody>
        </p:sp>
      </p:grpSp>
      <p:pic>
        <p:nvPicPr>
          <p:cNvPr id="17" name="Imagen 16" descr="Un dibujo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5E24CF56-E093-4061-81AE-E7FBA953F15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016056" y="2720640"/>
            <a:ext cx="308474" cy="307360"/>
          </a:xfrm>
          <a:prstGeom prst="rect">
            <a:avLst/>
          </a:prstGeom>
        </p:spPr>
      </p:pic>
      <p:sp>
        <p:nvSpPr>
          <p:cNvPr id="18" name="Flecha: a la derecha 17">
            <a:extLst>
              <a:ext uri="{FF2B5EF4-FFF2-40B4-BE49-F238E27FC236}">
                <a16:creationId xmlns:a16="http://schemas.microsoft.com/office/drawing/2014/main" id="{3442EA67-379A-4531-A03D-141FB237ACD3}"/>
              </a:ext>
            </a:extLst>
          </p:cNvPr>
          <p:cNvSpPr/>
          <p:nvPr/>
        </p:nvSpPr>
        <p:spPr>
          <a:xfrm rot="16200000">
            <a:off x="7485468" y="1995719"/>
            <a:ext cx="1398708" cy="56756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UY" sz="2184"/>
          </a:p>
        </p:txBody>
      </p:sp>
      <p:pic>
        <p:nvPicPr>
          <p:cNvPr id="19" name="Imagen 18" descr="Logotipo&#10;&#10;Descripción generada automáticamente">
            <a:extLst>
              <a:ext uri="{FF2B5EF4-FFF2-40B4-BE49-F238E27FC236}">
                <a16:creationId xmlns:a16="http://schemas.microsoft.com/office/drawing/2014/main" id="{FB72E549-DCA1-40F7-A11D-F4B96D3620CD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2852" y="944457"/>
            <a:ext cx="454104" cy="358796"/>
          </a:xfrm>
          <a:prstGeom prst="rect">
            <a:avLst/>
          </a:prstGeom>
        </p:spPr>
      </p:pic>
      <p:sp>
        <p:nvSpPr>
          <p:cNvPr id="77" name="CuadroTexto 1023">
            <a:extLst>
              <a:ext uri="{FF2B5EF4-FFF2-40B4-BE49-F238E27FC236}">
                <a16:creationId xmlns:a16="http://schemas.microsoft.com/office/drawing/2014/main" id="{D6837431-CBAA-4FF8-B5F4-0DA203C54B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4683" y="1661639"/>
            <a:ext cx="396916" cy="217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854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altLang="es-UY" sz="1092" b="1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</a:t>
            </a:r>
            <a:r>
              <a:rPr lang="es-ES" altLang="es-UY" sz="1092" b="1" baseline="-3000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es-ES" altLang="es-UY" sz="1092" b="1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zul</a:t>
            </a:r>
            <a:endParaRPr lang="es-ES" altLang="es-UY" sz="1966" dirty="0">
              <a:latin typeface="Arial" panose="020B0604020202020204" pitchFamily="34" charset="0"/>
            </a:endParaRPr>
          </a:p>
        </p:txBody>
      </p:sp>
      <p:sp>
        <p:nvSpPr>
          <p:cNvPr id="78" name="CuadroTexto 18">
            <a:extLst>
              <a:ext uri="{FF2B5EF4-FFF2-40B4-BE49-F238E27FC236}">
                <a16:creationId xmlns:a16="http://schemas.microsoft.com/office/drawing/2014/main" id="{AEA226DB-C119-40CF-BAF1-DF954E46CD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44720" y="5832879"/>
            <a:ext cx="504190" cy="197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854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altLang="es-UY" sz="1092" b="1" dirty="0" err="1">
                <a:solidFill>
                  <a:srgbClr val="00B05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SEnR</a:t>
            </a:r>
            <a:endParaRPr lang="es-ES" altLang="es-UY" sz="1966" dirty="0">
              <a:latin typeface="Arial" panose="020B0604020202020204" pitchFamily="34" charset="0"/>
            </a:endParaRPr>
          </a:p>
        </p:txBody>
      </p:sp>
      <p:pic>
        <p:nvPicPr>
          <p:cNvPr id="79" name="Imagen 76" descr="Icono&#10;&#10;Descripción generada automáticamente">
            <a:extLst>
              <a:ext uri="{FF2B5EF4-FFF2-40B4-BE49-F238E27FC236}">
                <a16:creationId xmlns:a16="http://schemas.microsoft.com/office/drawing/2014/main" id="{E90E8C1D-F0CB-4E6D-BFF9-32FEE563C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353" y="5024356"/>
            <a:ext cx="345065" cy="35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Flecha: a la derecha 79">
            <a:extLst>
              <a:ext uri="{FF2B5EF4-FFF2-40B4-BE49-F238E27FC236}">
                <a16:creationId xmlns:a16="http://schemas.microsoft.com/office/drawing/2014/main" id="{4A7C75F9-C917-4316-955A-D8DBA80F87AD}"/>
              </a:ext>
            </a:extLst>
          </p:cNvPr>
          <p:cNvSpPr/>
          <p:nvPr/>
        </p:nvSpPr>
        <p:spPr>
          <a:xfrm rot="21120183">
            <a:off x="1928649" y="4094665"/>
            <a:ext cx="2837765" cy="56277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UY" sz="2184"/>
          </a:p>
        </p:txBody>
      </p:sp>
      <p:sp>
        <p:nvSpPr>
          <p:cNvPr id="81" name="Flecha: a la derecha 80">
            <a:extLst>
              <a:ext uri="{FF2B5EF4-FFF2-40B4-BE49-F238E27FC236}">
                <a16:creationId xmlns:a16="http://schemas.microsoft.com/office/drawing/2014/main" id="{926BE6CA-8FE0-4E48-8EC2-4F86417739D2}"/>
              </a:ext>
            </a:extLst>
          </p:cNvPr>
          <p:cNvSpPr/>
          <p:nvPr/>
        </p:nvSpPr>
        <p:spPr>
          <a:xfrm rot="16200000" flipV="1">
            <a:off x="1252760" y="5202619"/>
            <a:ext cx="768641" cy="95832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UY" sz="2184"/>
          </a:p>
        </p:txBody>
      </p:sp>
      <p:sp>
        <p:nvSpPr>
          <p:cNvPr id="82" name="Text Box 1">
            <a:extLst>
              <a:ext uri="{FF2B5EF4-FFF2-40B4-BE49-F238E27FC236}">
                <a16:creationId xmlns:a16="http://schemas.microsoft.com/office/drawing/2014/main" id="{0BEBA7DB-D20D-457B-B430-D3663E4D18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7458" y="5097090"/>
            <a:ext cx="688344" cy="197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854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altLang="es-UY" sz="1092" b="1" dirty="0" err="1">
                <a:solidFill>
                  <a:srgbClr val="00B05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opulpa</a:t>
            </a:r>
            <a:endParaRPr lang="es-ES" altLang="es-UY" sz="1966" dirty="0">
              <a:latin typeface="Arial" panose="020B060402020202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FA6CDF61-C470-4576-B1B6-E3427A7A833C}"/>
              </a:ext>
            </a:extLst>
          </p:cNvPr>
          <p:cNvSpPr/>
          <p:nvPr/>
        </p:nvSpPr>
        <p:spPr>
          <a:xfrm>
            <a:off x="33239" y="0"/>
            <a:ext cx="12313368" cy="8813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Y"/>
          </a:p>
        </p:txBody>
      </p:sp>
      <p:sp>
        <p:nvSpPr>
          <p:cNvPr id="85" name="8 CuadroTexto">
            <a:extLst>
              <a:ext uri="{FF2B5EF4-FFF2-40B4-BE49-F238E27FC236}">
                <a16:creationId xmlns:a16="http://schemas.microsoft.com/office/drawing/2014/main" id="{73E82B26-25A9-47EC-B906-5C220F431D0C}"/>
              </a:ext>
            </a:extLst>
          </p:cNvPr>
          <p:cNvSpPr txBox="1"/>
          <p:nvPr/>
        </p:nvSpPr>
        <p:spPr>
          <a:xfrm>
            <a:off x="12074138" y="544125"/>
            <a:ext cx="1217409" cy="6388544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s-ES" sz="1200" b="1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P</a:t>
            </a:r>
          </a:p>
          <a:p>
            <a:pPr>
              <a:lnSpc>
                <a:spcPct val="150000"/>
              </a:lnSpc>
            </a:pPr>
            <a:r>
              <a:rPr lang="es-ES" sz="11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irólisis en atm H</a:t>
            </a:r>
            <a:r>
              <a:rPr lang="es-ES" sz="1100" baseline="-250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  <a:p>
            <a:pPr>
              <a:lnSpc>
                <a:spcPct val="150000"/>
              </a:lnSpc>
            </a:pPr>
            <a:r>
              <a:rPr lang="es-ES" sz="1100" b="1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TAP</a:t>
            </a:r>
          </a:p>
          <a:p>
            <a:pPr>
              <a:lnSpc>
                <a:spcPct val="150000"/>
              </a:lnSpc>
            </a:pPr>
            <a:r>
              <a:rPr lang="es-ES" sz="11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irólisis anaerobia a alta temperatura</a:t>
            </a:r>
          </a:p>
          <a:p>
            <a:pPr>
              <a:lnSpc>
                <a:spcPct val="150000"/>
              </a:lnSpc>
            </a:pPr>
            <a:r>
              <a:rPr lang="es-ES" sz="1200" b="1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TL</a:t>
            </a:r>
          </a:p>
          <a:p>
            <a:pPr>
              <a:lnSpc>
                <a:spcPct val="150000"/>
              </a:lnSpc>
            </a:pPr>
            <a:r>
              <a:rPr lang="es-ES" sz="1100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quefacción</a:t>
            </a:r>
            <a:r>
              <a:rPr lang="es-ES" sz="11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hidrotérmica</a:t>
            </a:r>
          </a:p>
          <a:p>
            <a:pPr>
              <a:lnSpc>
                <a:spcPct val="150000"/>
              </a:lnSpc>
            </a:pPr>
            <a:r>
              <a:rPr lang="es-ES" sz="1200" b="1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iopulpa</a:t>
            </a:r>
            <a:endParaRPr lang="es-ES" sz="1200" b="1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1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racción orgánica de RSU</a:t>
            </a:r>
          </a:p>
          <a:p>
            <a:pPr>
              <a:lnSpc>
                <a:spcPct val="150000"/>
              </a:lnSpc>
            </a:pPr>
            <a:r>
              <a:rPr lang="es-ES" sz="1200" b="1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SEnR</a:t>
            </a:r>
            <a:endParaRPr lang="es-ES" sz="1200" b="1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2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SU energéticos no reciclables</a:t>
            </a:r>
          </a:p>
          <a:p>
            <a:pPr>
              <a:lnSpc>
                <a:spcPct val="150000"/>
              </a:lnSpc>
            </a:pPr>
            <a:r>
              <a:rPr lang="es-ES" sz="1100" b="1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GFT</a:t>
            </a:r>
          </a:p>
          <a:p>
            <a:pPr>
              <a:lnSpc>
                <a:spcPct val="150000"/>
              </a:lnSpc>
            </a:pPr>
            <a:r>
              <a:rPr lang="es-ES" sz="11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asificación integrada con síntesis de Fischer-</a:t>
            </a:r>
            <a:r>
              <a:rPr lang="es-ES" sz="1100" dirty="0" err="1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opsch</a:t>
            </a:r>
            <a:endParaRPr lang="es-ES" sz="1100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sz="1200" b="1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GCC</a:t>
            </a:r>
          </a:p>
          <a:p>
            <a:pPr>
              <a:lnSpc>
                <a:spcPct val="150000"/>
              </a:lnSpc>
            </a:pPr>
            <a:r>
              <a:rPr lang="es-ES" sz="1200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asificación integrada con ciclo combinado</a:t>
            </a: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D9AABFA4-F2F6-4C03-8256-37996AD3528D}"/>
              </a:ext>
            </a:extLst>
          </p:cNvPr>
          <p:cNvSpPr txBox="1"/>
          <p:nvPr/>
        </p:nvSpPr>
        <p:spPr>
          <a:xfrm>
            <a:off x="177255" y="216520"/>
            <a:ext cx="105851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La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transformació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a </a:t>
            </a:r>
            <a:r>
              <a:rPr lang="en-US" sz="3600" b="1" dirty="0">
                <a:solidFill>
                  <a:schemeClr val="accent6"/>
                </a:solidFill>
              </a:rPr>
              <a:t>bio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-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refinería</a:t>
            </a:r>
            <a:endParaRPr lang="es-UY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7" name="Marcador de pie de página 1">
            <a:extLst>
              <a:ext uri="{FF2B5EF4-FFF2-40B4-BE49-F238E27FC236}">
                <a16:creationId xmlns:a16="http://schemas.microsoft.com/office/drawing/2014/main" id="{30262ED6-BBBB-41A6-B1C9-34F2AFD2CD0D}"/>
              </a:ext>
            </a:extLst>
          </p:cNvPr>
          <p:cNvSpPr txBox="1">
            <a:spLocks/>
          </p:cNvSpPr>
          <p:nvPr/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/>
              <a:t>#TransiciónResponsable</a:t>
            </a:r>
            <a:endParaRPr lang="es-UY" sz="2000" dirty="0"/>
          </a:p>
        </p:txBody>
      </p:sp>
      <p:sp>
        <p:nvSpPr>
          <p:cNvPr id="88" name="Marcador de número de diapositiva 2">
            <a:extLst>
              <a:ext uri="{FF2B5EF4-FFF2-40B4-BE49-F238E27FC236}">
                <a16:creationId xmlns:a16="http://schemas.microsoft.com/office/drawing/2014/main" id="{A6456EF0-289F-49B2-99D5-53A6F676823E}"/>
              </a:ext>
            </a:extLst>
          </p:cNvPr>
          <p:cNvSpPr txBox="1">
            <a:spLocks/>
          </p:cNvSpPr>
          <p:nvPr/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0</a:t>
            </a:fld>
            <a:endParaRPr lang="es-UY" dirty="0"/>
          </a:p>
        </p:txBody>
      </p:sp>
      <p:sp>
        <p:nvSpPr>
          <p:cNvPr id="83" name="Marcador de fecha 3">
            <a:extLst>
              <a:ext uri="{FF2B5EF4-FFF2-40B4-BE49-F238E27FC236}">
                <a16:creationId xmlns:a16="http://schemas.microsoft.com/office/drawing/2014/main" id="{3AF58D2A-C944-4338-A104-152FF775B798}"/>
              </a:ext>
            </a:extLst>
          </p:cNvPr>
          <p:cNvSpPr txBox="1">
            <a:spLocks/>
          </p:cNvSpPr>
          <p:nvPr/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49654" indent="-249654" algn="l" defTabSz="998616" rtl="0" eaLnBrk="1" latinLnBrk="0" hangingPunct="1">
              <a:lnSpc>
                <a:spcPct val="90000"/>
              </a:lnSpc>
              <a:spcBef>
                <a:spcPts val="1092"/>
              </a:spcBef>
              <a:buFont typeface="Arial" panose="020B0604020202020204" pitchFamily="34" charset="0"/>
              <a:buChar char="•"/>
              <a:defRPr sz="131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8962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262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8270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21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7578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19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46887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19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6195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19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5503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19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4811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19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4119" indent="-249654" algn="l" defTabSz="998616" rtl="0" eaLnBrk="1" latinLnBrk="0" hangingPunct="1">
              <a:lnSpc>
                <a:spcPct val="90000"/>
              </a:lnSpc>
              <a:spcBef>
                <a:spcPts val="546"/>
              </a:spcBef>
              <a:buFont typeface="Arial" panose="020B0604020202020204" pitchFamily="34" charset="0"/>
              <a:buChar char="•"/>
              <a:defRPr sz="196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UY" sz="1400"/>
              <a:t>Agosto 2023</a:t>
            </a:r>
            <a:endParaRPr lang="es-UY" sz="1400" dirty="0"/>
          </a:p>
        </p:txBody>
      </p:sp>
    </p:spTree>
    <p:extLst>
      <p:ext uri="{BB962C8B-B14F-4D97-AF65-F5344CB8AC3E}">
        <p14:creationId xmlns:p14="http://schemas.microsoft.com/office/powerpoint/2010/main" val="366249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ipse 2">
            <a:extLst>
              <a:ext uri="{FF2B5EF4-FFF2-40B4-BE49-F238E27FC236}">
                <a16:creationId xmlns:a16="http://schemas.microsoft.com/office/drawing/2014/main" id="{1FE23443-25AF-86DE-5CFF-9BCDF8A52538}"/>
              </a:ext>
            </a:extLst>
          </p:cNvPr>
          <p:cNvSpPr/>
          <p:nvPr/>
        </p:nvSpPr>
        <p:spPr>
          <a:xfrm>
            <a:off x="318259" y="5128407"/>
            <a:ext cx="312739" cy="3440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399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05F1657A-E7A2-84C4-FC37-BBE7E8D8B698}"/>
              </a:ext>
            </a:extLst>
          </p:cNvPr>
          <p:cNvCxnSpPr>
            <a:cxnSpLocks/>
          </p:cNvCxnSpPr>
          <p:nvPr/>
        </p:nvCxnSpPr>
        <p:spPr>
          <a:xfrm>
            <a:off x="415022" y="5312955"/>
            <a:ext cx="1214766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lipse 4">
            <a:extLst>
              <a:ext uri="{FF2B5EF4-FFF2-40B4-BE49-F238E27FC236}">
                <a16:creationId xmlns:a16="http://schemas.microsoft.com/office/drawing/2014/main" id="{6D36A512-C310-4A43-679C-6EE139C03313}"/>
              </a:ext>
            </a:extLst>
          </p:cNvPr>
          <p:cNvSpPr/>
          <p:nvPr/>
        </p:nvSpPr>
        <p:spPr>
          <a:xfrm>
            <a:off x="2916385" y="5128407"/>
            <a:ext cx="312739" cy="3440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399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8 CuadroTexto">
            <a:extLst>
              <a:ext uri="{FF2B5EF4-FFF2-40B4-BE49-F238E27FC236}">
                <a16:creationId xmlns:a16="http://schemas.microsoft.com/office/drawing/2014/main" id="{7DBAF367-0ABA-0B34-1A2F-9EDE2313AB28}"/>
              </a:ext>
            </a:extLst>
          </p:cNvPr>
          <p:cNvSpPr txBox="1"/>
          <p:nvPr/>
        </p:nvSpPr>
        <p:spPr>
          <a:xfrm>
            <a:off x="318257" y="5605783"/>
            <a:ext cx="2151575" cy="923330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tudio de factibilidad completado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808E5F24-859E-2DC1-BF8C-77D394E6287D}"/>
              </a:ext>
            </a:extLst>
          </p:cNvPr>
          <p:cNvSpPr/>
          <p:nvPr/>
        </p:nvSpPr>
        <p:spPr>
          <a:xfrm>
            <a:off x="10290156" y="5128407"/>
            <a:ext cx="312739" cy="3440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399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8 CuadroTexto">
            <a:extLst>
              <a:ext uri="{FF2B5EF4-FFF2-40B4-BE49-F238E27FC236}">
                <a16:creationId xmlns:a16="http://schemas.microsoft.com/office/drawing/2014/main" id="{FA10AAD1-9D60-8A5D-34AB-E604644A540D}"/>
              </a:ext>
            </a:extLst>
          </p:cNvPr>
          <p:cNvSpPr txBox="1"/>
          <p:nvPr/>
        </p:nvSpPr>
        <p:spPr>
          <a:xfrm>
            <a:off x="10255192" y="4680967"/>
            <a:ext cx="1374029" cy="400110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c-24</a:t>
            </a:r>
          </a:p>
        </p:txBody>
      </p:sp>
      <p:sp>
        <p:nvSpPr>
          <p:cNvPr id="23" name="8 CuadroTexto">
            <a:extLst>
              <a:ext uri="{FF2B5EF4-FFF2-40B4-BE49-F238E27FC236}">
                <a16:creationId xmlns:a16="http://schemas.microsoft.com/office/drawing/2014/main" id="{F36B7517-FFD6-2A77-8989-FEA97BB54CD1}"/>
              </a:ext>
            </a:extLst>
          </p:cNvPr>
          <p:cNvSpPr txBox="1"/>
          <p:nvPr/>
        </p:nvSpPr>
        <p:spPr>
          <a:xfrm>
            <a:off x="10058306" y="5605783"/>
            <a:ext cx="3110098" cy="923330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cedimientos de montaje, financiación y comercialización emitidos</a:t>
            </a:r>
          </a:p>
        </p:txBody>
      </p:sp>
      <p:sp>
        <p:nvSpPr>
          <p:cNvPr id="24" name="8 CuadroTexto">
            <a:extLst>
              <a:ext uri="{FF2B5EF4-FFF2-40B4-BE49-F238E27FC236}">
                <a16:creationId xmlns:a16="http://schemas.microsoft.com/office/drawing/2014/main" id="{76FE8F24-3C83-F749-00F5-CE0DDD2BFA8E}"/>
              </a:ext>
            </a:extLst>
          </p:cNvPr>
          <p:cNvSpPr txBox="1"/>
          <p:nvPr/>
        </p:nvSpPr>
        <p:spPr>
          <a:xfrm>
            <a:off x="2945713" y="4680967"/>
            <a:ext cx="1374029" cy="400110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c-23</a:t>
            </a:r>
          </a:p>
        </p:txBody>
      </p:sp>
      <p:sp>
        <p:nvSpPr>
          <p:cNvPr id="25" name="8 CuadroTexto">
            <a:extLst>
              <a:ext uri="{FF2B5EF4-FFF2-40B4-BE49-F238E27FC236}">
                <a16:creationId xmlns:a16="http://schemas.microsoft.com/office/drawing/2014/main" id="{341A45D1-0DFF-D035-863F-FFDB1F840912}"/>
              </a:ext>
            </a:extLst>
          </p:cNvPr>
          <p:cNvSpPr txBox="1"/>
          <p:nvPr/>
        </p:nvSpPr>
        <p:spPr>
          <a:xfrm>
            <a:off x="2800273" y="5605785"/>
            <a:ext cx="4046358" cy="120032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delo de negocio definido</a:t>
            </a:r>
          </a:p>
          <a:p>
            <a:pPr>
              <a:lnSpc>
                <a:spcPct val="100000"/>
              </a:lnSpc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spección de materia prima completada</a:t>
            </a:r>
          </a:p>
          <a:p>
            <a:pPr>
              <a:lnSpc>
                <a:spcPct val="100000"/>
              </a:lnSpc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ma de decisión sobre Ingeniería</a:t>
            </a: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A238972B-3E7A-2518-E95D-5AF164E4D480}"/>
              </a:ext>
            </a:extLst>
          </p:cNvPr>
          <p:cNvSpPr/>
          <p:nvPr/>
        </p:nvSpPr>
        <p:spPr>
          <a:xfrm>
            <a:off x="6766526" y="5128407"/>
            <a:ext cx="312739" cy="34401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UY" sz="2399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8 CuadroTexto">
            <a:extLst>
              <a:ext uri="{FF2B5EF4-FFF2-40B4-BE49-F238E27FC236}">
                <a16:creationId xmlns:a16="http://schemas.microsoft.com/office/drawing/2014/main" id="{E6417A80-54FA-DAFD-F888-6614C4EB8B2E}"/>
              </a:ext>
            </a:extLst>
          </p:cNvPr>
          <p:cNvSpPr txBox="1"/>
          <p:nvPr/>
        </p:nvSpPr>
        <p:spPr>
          <a:xfrm>
            <a:off x="6722187" y="4680967"/>
            <a:ext cx="1374029" cy="400110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t-24</a:t>
            </a:r>
          </a:p>
        </p:txBody>
      </p:sp>
      <p:sp>
        <p:nvSpPr>
          <p:cNvPr id="31" name="8 CuadroTexto">
            <a:extLst>
              <a:ext uri="{FF2B5EF4-FFF2-40B4-BE49-F238E27FC236}">
                <a16:creationId xmlns:a16="http://schemas.microsoft.com/office/drawing/2014/main" id="{110C7816-D10F-3522-69CB-230A65953E05}"/>
              </a:ext>
            </a:extLst>
          </p:cNvPr>
          <p:cNvSpPr txBox="1"/>
          <p:nvPr/>
        </p:nvSpPr>
        <p:spPr>
          <a:xfrm>
            <a:off x="6722187" y="5605784"/>
            <a:ext cx="3336119" cy="1200329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geniería completa</a:t>
            </a:r>
          </a:p>
          <a:p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lternativas de financiación evaluadas</a:t>
            </a:r>
          </a:p>
          <a:p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ma de decisión sobre inversión</a:t>
            </a:r>
          </a:p>
        </p:txBody>
      </p:sp>
      <p:sp>
        <p:nvSpPr>
          <p:cNvPr id="34" name="8 CuadroTexto">
            <a:extLst>
              <a:ext uri="{FF2B5EF4-FFF2-40B4-BE49-F238E27FC236}">
                <a16:creationId xmlns:a16="http://schemas.microsoft.com/office/drawing/2014/main" id="{27FC625A-3108-B957-A08E-7F5F6250E5BF}"/>
              </a:ext>
            </a:extLst>
          </p:cNvPr>
          <p:cNvSpPr txBox="1"/>
          <p:nvPr/>
        </p:nvSpPr>
        <p:spPr>
          <a:xfrm>
            <a:off x="338885" y="4680967"/>
            <a:ext cx="1374029" cy="400110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t-23</a:t>
            </a:r>
          </a:p>
        </p:txBody>
      </p:sp>
      <p:sp>
        <p:nvSpPr>
          <p:cNvPr id="35" name="8 CuadroTexto">
            <a:extLst>
              <a:ext uri="{FF2B5EF4-FFF2-40B4-BE49-F238E27FC236}">
                <a16:creationId xmlns:a16="http://schemas.microsoft.com/office/drawing/2014/main" id="{1F636362-E9CC-6F42-BE76-F11E126BBBF0}"/>
              </a:ext>
            </a:extLst>
          </p:cNvPr>
          <p:cNvSpPr txBox="1"/>
          <p:nvPr/>
        </p:nvSpPr>
        <p:spPr>
          <a:xfrm>
            <a:off x="128967" y="1519547"/>
            <a:ext cx="13039437" cy="3100270"/>
          </a:xfrm>
          <a:prstGeom prst="rect">
            <a:avLst/>
          </a:prstGeom>
        </p:spPr>
        <p:txBody>
          <a:bodyPr wrap="square" numCol="4" spcCol="360000" rtlCol="0">
            <a:no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s-ES" sz="2399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bjetivo</a:t>
            </a:r>
            <a:endParaRPr lang="es-ES" sz="1800" b="1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ducir destilados sostenibles con foco en exportación, y mercado interno conforme los compromisos internacionales asumidos</a:t>
            </a:r>
            <a:endParaRPr lang="es-ES" sz="1800" b="1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/>
            <a:endParaRPr lang="es-ES" sz="2399" b="1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lnSpc>
                <a:spcPct val="150000"/>
              </a:lnSpc>
            </a:pPr>
            <a:endParaRPr lang="es-ES" sz="2399" b="1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es-ES" sz="2399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ndamentación</a:t>
            </a:r>
            <a:endParaRPr lang="es-ES" sz="1800" b="1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tencial para producción nacional de materias primas certificadas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pacidades (agro) y recursos  (industriales) de ALUR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pacidades y recursos en refinería La Teja y ANCAP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endParaRPr lang="es-ES" sz="18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es-ES" sz="2399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ortunidad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rcado establecido de </a:t>
            </a:r>
            <a:r>
              <a:rPr lang="es-ES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D</a:t>
            </a: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en USA y EU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rcado incipiente de </a:t>
            </a:r>
            <a:r>
              <a:rPr lang="es-ES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F</a:t>
            </a: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en regiones de USA, EU, y otros en corto plazo (e. g. Brasil en 2027)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onibilidad de financiación blanda para iniciativas de este tipo</a:t>
            </a:r>
          </a:p>
          <a:p>
            <a:pPr algn="just">
              <a:lnSpc>
                <a:spcPct val="150000"/>
              </a:lnSpc>
            </a:pPr>
            <a:r>
              <a:rPr lang="es-ES" sz="2399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ertidumbre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ceso a mercados fluidos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olución de las regulaciones, nacionales e internacionales, en combustibles de bajas emisiones</a:t>
            </a:r>
          </a:p>
          <a:p>
            <a:pPr indent="312045" algn="just"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olución de las tecnologías para movilidad sostenible de alta carga y larga distancia</a:t>
            </a:r>
          </a:p>
        </p:txBody>
      </p: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4E64614E-CCD4-7163-5B75-185231A7B458}"/>
              </a:ext>
            </a:extLst>
          </p:cNvPr>
          <p:cNvCxnSpPr>
            <a:cxnSpLocks/>
          </p:cNvCxnSpPr>
          <p:nvPr/>
        </p:nvCxnSpPr>
        <p:spPr>
          <a:xfrm>
            <a:off x="3358455" y="1780611"/>
            <a:ext cx="0" cy="2879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ector recto 1">
            <a:extLst>
              <a:ext uri="{FF2B5EF4-FFF2-40B4-BE49-F238E27FC236}">
                <a16:creationId xmlns:a16="http://schemas.microsoft.com/office/drawing/2014/main" id="{AA2142FF-C88A-9AF1-DF35-62CA3B20C6E7}"/>
              </a:ext>
            </a:extLst>
          </p:cNvPr>
          <p:cNvCxnSpPr>
            <a:cxnSpLocks/>
            <a:endCxn id="35" idx="2"/>
          </p:cNvCxnSpPr>
          <p:nvPr/>
        </p:nvCxnSpPr>
        <p:spPr>
          <a:xfrm flipH="1">
            <a:off x="6648684" y="1780611"/>
            <a:ext cx="0" cy="2879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F5F0409C-8F3F-55BF-B638-5E290E0B074E}"/>
              </a:ext>
            </a:extLst>
          </p:cNvPr>
          <p:cNvCxnSpPr>
            <a:cxnSpLocks/>
          </p:cNvCxnSpPr>
          <p:nvPr/>
        </p:nvCxnSpPr>
        <p:spPr>
          <a:xfrm>
            <a:off x="9943814" y="1780611"/>
            <a:ext cx="0" cy="28798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uadroTexto 26">
            <a:extLst>
              <a:ext uri="{FF2B5EF4-FFF2-40B4-BE49-F238E27FC236}">
                <a16:creationId xmlns:a16="http://schemas.microsoft.com/office/drawing/2014/main" id="{C496D9FD-3BF9-4C1E-BA33-6F40E87DA070}"/>
              </a:ext>
            </a:extLst>
          </p:cNvPr>
          <p:cNvSpPr txBox="1"/>
          <p:nvPr/>
        </p:nvSpPr>
        <p:spPr>
          <a:xfrm>
            <a:off x="207162" y="170976"/>
            <a:ext cx="125991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Oportunidad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: </a:t>
            </a:r>
            <a:r>
              <a:rPr lang="en-US" sz="3600" b="1" dirty="0" err="1">
                <a:solidFill>
                  <a:schemeClr val="accent6"/>
                </a:solidFill>
              </a:rPr>
              <a:t>bio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gasoil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(RD) y </a:t>
            </a:r>
            <a:r>
              <a:rPr lang="en-US" sz="3600" b="1" dirty="0" err="1">
                <a:solidFill>
                  <a:schemeClr val="accent6"/>
                </a:solidFill>
              </a:rPr>
              <a:t>bio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turbocombustible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(SAF)</a:t>
            </a:r>
          </a:p>
        </p:txBody>
      </p:sp>
      <p:sp>
        <p:nvSpPr>
          <p:cNvPr id="22" name="Marcador de pie de página 1">
            <a:extLst>
              <a:ext uri="{FF2B5EF4-FFF2-40B4-BE49-F238E27FC236}">
                <a16:creationId xmlns:a16="http://schemas.microsoft.com/office/drawing/2014/main" id="{2B6F3000-E99E-4384-84A2-1735FB6DE9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8" name="Marcador de número de diapositiva 2">
            <a:extLst>
              <a:ext uri="{FF2B5EF4-FFF2-40B4-BE49-F238E27FC236}">
                <a16:creationId xmlns:a16="http://schemas.microsoft.com/office/drawing/2014/main" id="{B9BFEBB7-7AA4-4BD2-8039-2CEB11B643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1</a:t>
            </a:fld>
            <a:endParaRPr lang="es-UY" dirty="0"/>
          </a:p>
        </p:txBody>
      </p:sp>
      <p:sp>
        <p:nvSpPr>
          <p:cNvPr id="32" name="Marcador de fecha 3">
            <a:extLst>
              <a:ext uri="{FF2B5EF4-FFF2-40B4-BE49-F238E27FC236}">
                <a16:creationId xmlns:a16="http://schemas.microsoft.com/office/drawing/2014/main" id="{F3B7A46E-BFEC-43B2-B328-69E06D20F1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2421580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Diapositiva de think-cell" r:id="rId8" imgW="493" imgH="493" progId="TCLayout.ActiveDocument.1">
                  <p:embed/>
                </p:oleObj>
              </mc:Choice>
              <mc:Fallback>
                <p:oleObj name="Diapositiva de think-cell" r:id="rId8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Forma libre: forma 9">
            <a:extLst>
              <a:ext uri="{FF2B5EF4-FFF2-40B4-BE49-F238E27FC236}">
                <a16:creationId xmlns:a16="http://schemas.microsoft.com/office/drawing/2014/main" id="{89D07786-6DA5-42CF-840D-5FCB75D9C896}"/>
              </a:ext>
            </a:extLst>
          </p:cNvPr>
          <p:cNvSpPr/>
          <p:nvPr/>
        </p:nvSpPr>
        <p:spPr>
          <a:xfrm>
            <a:off x="2481511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2031735" rIns="128016" bIns="107987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ción emisiones en </a:t>
            </a:r>
            <a:r>
              <a:rPr lang="es-UY" kern="1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s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dicionales</a:t>
            </a:r>
            <a:endParaRPr lang="es-UY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kern="1200" dirty="0"/>
              <a:t>importación de petróleo y gas natural, refinación, distribución)</a:t>
            </a:r>
            <a:endParaRPr lang="es-UY" sz="1800" i="1" kern="1200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AA0B1C3-B09E-4619-9BC8-C026CACFC0F9}"/>
              </a:ext>
            </a:extLst>
          </p:cNvPr>
          <p:cNvSpPr/>
          <p:nvPr/>
        </p:nvSpPr>
        <p:spPr>
          <a:xfrm>
            <a:off x="2714179" y="1798221"/>
            <a:ext cx="1584846" cy="1584846"/>
          </a:xfrm>
          <a:prstGeom prst="ellipse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4" name="Forma libre: forma 13">
            <a:extLst>
              <a:ext uri="{FF2B5EF4-FFF2-40B4-BE49-F238E27FC236}">
                <a16:creationId xmlns:a16="http://schemas.microsoft.com/office/drawing/2014/main" id="{547C3BFD-C00A-4AB0-A102-3516BA1E5D59}"/>
              </a:ext>
            </a:extLst>
          </p:cNvPr>
          <p:cNvSpPr/>
          <p:nvPr/>
        </p:nvSpPr>
        <p:spPr>
          <a:xfrm>
            <a:off x="669817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sintétic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a de CO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ogénico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dirty="0" err="1"/>
              <a:t>PtX</a:t>
            </a:r>
            <a:r>
              <a:rPr lang="es-UY" sz="1600" i="1" dirty="0"/>
              <a:t>)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C9BC300E-7BE3-44D3-8E65-24E789C559FF}"/>
              </a:ext>
            </a:extLst>
          </p:cNvPr>
          <p:cNvSpPr/>
          <p:nvPr/>
        </p:nvSpPr>
        <p:spPr>
          <a:xfrm>
            <a:off x="6951823" y="1798221"/>
            <a:ext cx="1584846" cy="1584846"/>
          </a:xfrm>
          <a:prstGeom prst="ellipse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17E762E6-8D4D-4EF2-9B0D-8BB847BD5FFB}"/>
              </a:ext>
            </a:extLst>
          </p:cNvPr>
          <p:cNvSpPr/>
          <p:nvPr/>
        </p:nvSpPr>
        <p:spPr>
          <a:xfrm>
            <a:off x="458984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alternativ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ites vegetales hidrogenados </a:t>
            </a:r>
            <a:r>
              <a:rPr lang="es-UY" sz="1600" i="1" dirty="0"/>
              <a:t>(HVO)</a:t>
            </a:r>
            <a:endParaRPr lang="es-UY" sz="2200" i="1" dirty="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38E8AAF-0A51-4FE1-BFC1-DE971E332144}"/>
              </a:ext>
            </a:extLst>
          </p:cNvPr>
          <p:cNvSpPr/>
          <p:nvPr/>
        </p:nvSpPr>
        <p:spPr>
          <a:xfrm>
            <a:off x="4821070" y="1798221"/>
            <a:ext cx="1584846" cy="1584846"/>
          </a:xfrm>
          <a:prstGeom prst="ellipse">
            <a:avLst/>
          </a:prstGeom>
          <a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1000" b="-3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2E5D4BE6-C3F6-44F9-851D-F833E24F0FC7}"/>
              </a:ext>
            </a:extLst>
          </p:cNvPr>
          <p:cNvSpPr/>
          <p:nvPr/>
        </p:nvSpPr>
        <p:spPr>
          <a:xfrm>
            <a:off x="8806509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ción de H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erde a escala mundial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7F45173-4530-4369-ACF0-A64B7D6380F2}"/>
              </a:ext>
            </a:extLst>
          </p:cNvPr>
          <p:cNvSpPr/>
          <p:nvPr/>
        </p:nvSpPr>
        <p:spPr>
          <a:xfrm>
            <a:off x="9037232" y="1798221"/>
            <a:ext cx="1584846" cy="1584846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24" name="Marcador de pie de página 1">
            <a:extLst>
              <a:ext uri="{FF2B5EF4-FFF2-40B4-BE49-F238E27FC236}">
                <a16:creationId xmlns:a16="http://schemas.microsoft.com/office/drawing/2014/main" id="{4CCE2CF1-1F7E-41E6-BB03-9C3BCCD4E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8" name="Marcador de número de diapositiva 2">
            <a:extLst>
              <a:ext uri="{FF2B5EF4-FFF2-40B4-BE49-F238E27FC236}">
                <a16:creationId xmlns:a16="http://schemas.microsoft.com/office/drawing/2014/main" id="{3844C7A3-2BFF-4729-882D-3D7B1BA79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2</a:t>
            </a:fld>
            <a:endParaRPr lang="es-UY" dirty="0"/>
          </a:p>
        </p:txBody>
      </p:sp>
      <p:sp>
        <p:nvSpPr>
          <p:cNvPr id="21" name="Marcador de fecha 3">
            <a:extLst>
              <a:ext uri="{FF2B5EF4-FFF2-40B4-BE49-F238E27FC236}">
                <a16:creationId xmlns:a16="http://schemas.microsoft.com/office/drawing/2014/main" id="{E13D0265-ED00-4268-9483-3315FC4BF1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4170993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3BF036E-33C7-4558-A28E-A3479EF8870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3BF036E-33C7-4558-A28E-A3479EF88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1B90BA67-98B8-4813-94AA-03D332A01C5F}"/>
              </a:ext>
            </a:extLst>
          </p:cNvPr>
          <p:cNvSpPr txBox="1"/>
          <p:nvPr/>
        </p:nvSpPr>
        <p:spPr>
          <a:xfrm>
            <a:off x="177255" y="216520"/>
            <a:ext cx="105851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Combustibles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sintéticos</a:t>
            </a:r>
            <a:endParaRPr lang="es-UY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A58734B5-D0B5-4A47-A810-BD41A5E77541}"/>
              </a:ext>
            </a:extLst>
          </p:cNvPr>
          <p:cNvSpPr txBox="1"/>
          <p:nvPr/>
        </p:nvSpPr>
        <p:spPr>
          <a:xfrm>
            <a:off x="7368131" y="3271657"/>
            <a:ext cx="52383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algn="r">
              <a:defRPr sz="2800" i="1">
                <a:solidFill>
                  <a:srgbClr val="002060"/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UR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lamó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presione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nteré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ar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sarrollar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n Proyecto Power-to-Methanol</a:t>
            </a:r>
          </a:p>
        </p:txBody>
      </p:sp>
      <p:sp>
        <p:nvSpPr>
          <p:cNvPr id="2052" name="CuadroTexto 2051">
            <a:extLst>
              <a:ext uri="{FF2B5EF4-FFF2-40B4-BE49-F238E27FC236}">
                <a16:creationId xmlns:a16="http://schemas.microsoft.com/office/drawing/2014/main" id="{9A57EB97-2F9C-41C2-A683-673936375CB5}"/>
              </a:ext>
            </a:extLst>
          </p:cNvPr>
          <p:cNvSpPr txBox="1"/>
          <p:nvPr/>
        </p:nvSpPr>
        <p:spPr>
          <a:xfrm>
            <a:off x="2337495" y="1552621"/>
            <a:ext cx="5238330" cy="2768355"/>
          </a:xfrm>
          <a:prstGeom prst="rect">
            <a:avLst/>
          </a:prstGeom>
        </p:spPr>
        <p:txBody>
          <a:bodyPr>
            <a:normAutofit fontScale="92500"/>
          </a:bodyPr>
          <a:lstStyle>
            <a:defPPr>
              <a:defRPr lang="es-UY"/>
            </a:defPPr>
            <a:lvl1pPr marL="22860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2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s-UY" sz="2400" dirty="0"/>
              <a:t>Disponibilidad de CO</a:t>
            </a:r>
            <a:r>
              <a:rPr lang="es-UY" sz="2400" baseline="-25000" dirty="0"/>
              <a:t>2</a:t>
            </a:r>
            <a:endParaRPr lang="es-UY" sz="2400" dirty="0"/>
          </a:p>
          <a:p>
            <a:pPr lvl="1">
              <a:spcBef>
                <a:spcPts val="1200"/>
              </a:spcBef>
            </a:pPr>
            <a:r>
              <a:rPr lang="es-UY" sz="1900" dirty="0">
                <a:latin typeface="+mn-lt"/>
              </a:rPr>
              <a:t>2 plantas de etanol (</a:t>
            </a:r>
            <a:r>
              <a:rPr lang="es-UY" sz="1900" i="1" dirty="0">
                <a:latin typeface="+mn-lt"/>
              </a:rPr>
              <a:t>caña de azúcar y cereales)</a:t>
            </a:r>
          </a:p>
          <a:p>
            <a:pPr lvl="1">
              <a:spcBef>
                <a:spcPts val="1200"/>
              </a:spcBef>
            </a:pPr>
            <a:r>
              <a:rPr lang="es-UY" sz="1900" dirty="0">
                <a:latin typeface="+mn-lt"/>
              </a:rPr>
              <a:t>2 plantas de cemento</a:t>
            </a:r>
          </a:p>
          <a:p>
            <a:pPr lvl="1">
              <a:spcBef>
                <a:spcPts val="1200"/>
              </a:spcBef>
            </a:pPr>
            <a:r>
              <a:rPr lang="es-UY" sz="1900" dirty="0">
                <a:latin typeface="+mn-lt"/>
              </a:rPr>
              <a:t>1 planta de cal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s-UY" sz="2400" dirty="0"/>
              <a:t>Capacidad de almacenaje de líquidos</a:t>
            </a:r>
          </a:p>
          <a:p>
            <a:pPr>
              <a:spcBef>
                <a:spcPts val="1200"/>
              </a:spcBef>
            </a:pPr>
            <a:r>
              <a:rPr lang="es-UY" sz="2400" dirty="0"/>
              <a:t>Acceso fluvial y marítimo propios</a:t>
            </a:r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29CDBEE2-7979-403E-BCB7-B925094D51F8}"/>
              </a:ext>
            </a:extLst>
          </p:cNvPr>
          <p:cNvSpPr/>
          <p:nvPr/>
        </p:nvSpPr>
        <p:spPr>
          <a:xfrm>
            <a:off x="219194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a de CO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ogénico</a:t>
            </a:r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id="{5C7C7CE6-1EA2-4D22-ACFC-F8F939E8BD85}"/>
              </a:ext>
            </a:extLst>
          </p:cNvPr>
          <p:cNvSpPr/>
          <p:nvPr/>
        </p:nvSpPr>
        <p:spPr>
          <a:xfrm>
            <a:off x="472839" y="1798221"/>
            <a:ext cx="1584846" cy="1584846"/>
          </a:xfrm>
          <a:prstGeom prst="ellipse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44" name="Marcador de pie de página 1">
            <a:extLst>
              <a:ext uri="{FF2B5EF4-FFF2-40B4-BE49-F238E27FC236}">
                <a16:creationId xmlns:a16="http://schemas.microsoft.com/office/drawing/2014/main" id="{11F2B1AE-3DB6-4842-B2A2-2650332E5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45" name="Marcador de número de diapositiva 2">
            <a:extLst>
              <a:ext uri="{FF2B5EF4-FFF2-40B4-BE49-F238E27FC236}">
                <a16:creationId xmlns:a16="http://schemas.microsoft.com/office/drawing/2014/main" id="{44233F28-4672-42FA-ACD0-27434001E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3</a:t>
            </a:fld>
            <a:endParaRPr lang="es-UY" dirty="0"/>
          </a:p>
        </p:txBody>
      </p:sp>
      <p:sp>
        <p:nvSpPr>
          <p:cNvPr id="49" name="Marcador de fecha 3">
            <a:extLst>
              <a:ext uri="{FF2B5EF4-FFF2-40B4-BE49-F238E27FC236}">
                <a16:creationId xmlns:a16="http://schemas.microsoft.com/office/drawing/2014/main" id="{C65A27F9-D839-4AB8-AA92-F60E6C4EC0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pic>
        <p:nvPicPr>
          <p:cNvPr id="58" name="Imagen 57">
            <a:extLst>
              <a:ext uri="{FF2B5EF4-FFF2-40B4-BE49-F238E27FC236}">
                <a16:creationId xmlns:a16="http://schemas.microsoft.com/office/drawing/2014/main" id="{1BE8AD9E-E570-4DE7-AE36-E59627DA35F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26997" y="4711956"/>
            <a:ext cx="3296424" cy="1867001"/>
          </a:xfrm>
          <a:prstGeom prst="rect">
            <a:avLst/>
          </a:prstGeom>
        </p:spPr>
      </p:pic>
      <p:pic>
        <p:nvPicPr>
          <p:cNvPr id="57" name="Imagen 56">
            <a:extLst>
              <a:ext uri="{FF2B5EF4-FFF2-40B4-BE49-F238E27FC236}">
                <a16:creationId xmlns:a16="http://schemas.microsoft.com/office/drawing/2014/main" id="{5A5D5063-C5D8-4B82-AE1C-A2E891AB68E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35522" y="4278066"/>
            <a:ext cx="1563675" cy="1171247"/>
          </a:xfrm>
          <a:prstGeom prst="rect">
            <a:avLst/>
          </a:prstGeom>
        </p:spPr>
      </p:pic>
      <p:pic>
        <p:nvPicPr>
          <p:cNvPr id="59" name="Imagen 58">
            <a:extLst>
              <a:ext uri="{FF2B5EF4-FFF2-40B4-BE49-F238E27FC236}">
                <a16:creationId xmlns:a16="http://schemas.microsoft.com/office/drawing/2014/main" id="{C9CF495D-721D-414A-8B83-E9EB83637C7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99197" y="4273810"/>
            <a:ext cx="1868731" cy="1171247"/>
          </a:xfrm>
          <a:prstGeom prst="rect">
            <a:avLst/>
          </a:prstGeom>
        </p:spPr>
      </p:pic>
      <p:pic>
        <p:nvPicPr>
          <p:cNvPr id="60" name="Imagen 59">
            <a:extLst>
              <a:ext uri="{FF2B5EF4-FFF2-40B4-BE49-F238E27FC236}">
                <a16:creationId xmlns:a16="http://schemas.microsoft.com/office/drawing/2014/main" id="{62CCB473-4806-4A4E-9A69-663AC229728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67928" y="4284971"/>
            <a:ext cx="1726523" cy="1148923"/>
          </a:xfrm>
          <a:prstGeom prst="rect">
            <a:avLst/>
          </a:prstGeom>
        </p:spPr>
      </p:pic>
      <p:pic>
        <p:nvPicPr>
          <p:cNvPr id="61" name="Imagen 60">
            <a:extLst>
              <a:ext uri="{FF2B5EF4-FFF2-40B4-BE49-F238E27FC236}">
                <a16:creationId xmlns:a16="http://schemas.microsoft.com/office/drawing/2014/main" id="{EAC54869-75DE-4537-B567-A885C8A818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35522" y="5429188"/>
            <a:ext cx="2996089" cy="1183329"/>
          </a:xfrm>
          <a:prstGeom prst="rect">
            <a:avLst/>
          </a:prstGeom>
        </p:spPr>
      </p:pic>
      <p:pic>
        <p:nvPicPr>
          <p:cNvPr id="62" name="Imagen 61">
            <a:extLst>
              <a:ext uri="{FF2B5EF4-FFF2-40B4-BE49-F238E27FC236}">
                <a16:creationId xmlns:a16="http://schemas.microsoft.com/office/drawing/2014/main" id="{9758D6B8-5A2D-44DC-B25D-EAFF2EF32D4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31611" y="5402742"/>
            <a:ext cx="2162840" cy="1211191"/>
          </a:xfrm>
          <a:prstGeom prst="rect">
            <a:avLst/>
          </a:prstGeom>
        </p:spPr>
      </p:pic>
      <p:pic>
        <p:nvPicPr>
          <p:cNvPr id="69" name="Imagen 68">
            <a:extLst>
              <a:ext uri="{FF2B5EF4-FFF2-40B4-BE49-F238E27FC236}">
                <a16:creationId xmlns:a16="http://schemas.microsoft.com/office/drawing/2014/main" id="{50FCC73C-F53B-4E0C-9400-5923D38CAAF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114359" y="288528"/>
            <a:ext cx="2492102" cy="2639939"/>
          </a:xfrm>
          <a:prstGeom prst="rect">
            <a:avLst/>
          </a:prstGeom>
        </p:spPr>
      </p:pic>
      <p:pic>
        <p:nvPicPr>
          <p:cNvPr id="70" name="Imagen 69">
            <a:extLst>
              <a:ext uri="{FF2B5EF4-FFF2-40B4-BE49-F238E27FC236}">
                <a16:creationId xmlns:a16="http://schemas.microsoft.com/office/drawing/2014/main" id="{AAA0A40F-D8AD-444D-A6B4-FE6B5DDDC3D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450063" y="653477"/>
            <a:ext cx="2270107" cy="1867001"/>
          </a:xfrm>
          <a:prstGeom prst="rect">
            <a:avLst/>
          </a:prstGeom>
        </p:spPr>
      </p:pic>
      <p:cxnSp>
        <p:nvCxnSpPr>
          <p:cNvPr id="71" name="Conector recto 70">
            <a:extLst>
              <a:ext uri="{FF2B5EF4-FFF2-40B4-BE49-F238E27FC236}">
                <a16:creationId xmlns:a16="http://schemas.microsoft.com/office/drawing/2014/main" id="{E842DC9D-755E-429E-8EC9-B8613A89F856}"/>
              </a:ext>
            </a:extLst>
          </p:cNvPr>
          <p:cNvCxnSpPr>
            <a:cxnSpLocks/>
            <a:stCxn id="70" idx="3"/>
          </p:cNvCxnSpPr>
          <p:nvPr/>
        </p:nvCxnSpPr>
        <p:spPr>
          <a:xfrm flipV="1">
            <a:off x="9720170" y="543049"/>
            <a:ext cx="826237" cy="1043929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id="{6047FB68-C316-48AD-BEBA-94B698DBAB0A}"/>
              </a:ext>
            </a:extLst>
          </p:cNvPr>
          <p:cNvCxnSpPr>
            <a:cxnSpLocks/>
            <a:stCxn id="70" idx="3"/>
          </p:cNvCxnSpPr>
          <p:nvPr/>
        </p:nvCxnSpPr>
        <p:spPr>
          <a:xfrm flipV="1">
            <a:off x="9720170" y="1497062"/>
            <a:ext cx="682221" cy="8991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:a16="http://schemas.microsoft.com/office/drawing/2014/main" id="{F6AECA9A-5389-44EC-9D2D-3730094364F5}"/>
              </a:ext>
            </a:extLst>
          </p:cNvPr>
          <p:cNvCxnSpPr>
            <a:cxnSpLocks/>
            <a:stCxn id="70" idx="3"/>
          </p:cNvCxnSpPr>
          <p:nvPr/>
        </p:nvCxnSpPr>
        <p:spPr>
          <a:xfrm>
            <a:off x="9720170" y="1586978"/>
            <a:ext cx="1762341" cy="78260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Conector recto 73">
            <a:extLst>
              <a:ext uri="{FF2B5EF4-FFF2-40B4-BE49-F238E27FC236}">
                <a16:creationId xmlns:a16="http://schemas.microsoft.com/office/drawing/2014/main" id="{A2BB94DC-50D4-47E2-9FE1-AD6824A79B03}"/>
              </a:ext>
            </a:extLst>
          </p:cNvPr>
          <p:cNvCxnSpPr>
            <a:cxnSpLocks/>
            <a:stCxn id="70" idx="3"/>
          </p:cNvCxnSpPr>
          <p:nvPr/>
        </p:nvCxnSpPr>
        <p:spPr>
          <a:xfrm>
            <a:off x="9720170" y="1586978"/>
            <a:ext cx="2209224" cy="334584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3639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D77EDBC-185D-4ACD-A37E-2BA402F25AE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45594995"/>
              </p:ext>
            </p:extLst>
          </p:nvPr>
        </p:nvGraphicFramePr>
        <p:xfrm>
          <a:off x="1941" y="178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D77EDBC-185D-4ACD-A37E-2BA402F25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41" y="178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Imagen 13">
            <a:extLst>
              <a:ext uri="{FF2B5EF4-FFF2-40B4-BE49-F238E27FC236}">
                <a16:creationId xmlns:a16="http://schemas.microsoft.com/office/drawing/2014/main" id="{E13835FE-EF8B-4E6F-9041-82ADE2A5E3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0943" y="1958602"/>
            <a:ext cx="2071981" cy="72004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D127B32D-96A1-435C-ACFD-8EC597CBBE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0943" y="3037185"/>
            <a:ext cx="4797595" cy="3097660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451B9187-6838-484F-B1BB-D6E6A8EAC9FB}"/>
              </a:ext>
            </a:extLst>
          </p:cNvPr>
          <p:cNvSpPr txBox="1"/>
          <p:nvPr/>
        </p:nvSpPr>
        <p:spPr>
          <a:xfrm>
            <a:off x="7753869" y="2760384"/>
            <a:ext cx="5024786" cy="3319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UY" sz="3495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yecto de e-gasolina </a:t>
            </a:r>
            <a:r>
              <a:rPr lang="es-UY" sz="3495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USD 1.985 millones)</a:t>
            </a:r>
            <a:r>
              <a:rPr lang="es-UY" sz="3495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on generación y transmisión de energía eléctrica renovable tercerizada </a:t>
            </a:r>
            <a:r>
              <a:rPr lang="es-UY" sz="3495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USD 2.000 millones)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0EE79F9-3158-46D4-94BE-57BF5187658C}"/>
              </a:ext>
            </a:extLst>
          </p:cNvPr>
          <p:cNvSpPr txBox="1"/>
          <p:nvPr/>
        </p:nvSpPr>
        <p:spPr>
          <a:xfrm>
            <a:off x="6333957" y="3096876"/>
            <a:ext cx="684040" cy="2400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UY" sz="14999" dirty="0"/>
              <a:t>+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2CC655A-C737-423E-B058-8861B1CDDCA6}"/>
              </a:ext>
            </a:extLst>
          </p:cNvPr>
          <p:cNvSpPr txBox="1"/>
          <p:nvPr/>
        </p:nvSpPr>
        <p:spPr>
          <a:xfrm>
            <a:off x="772786" y="1174786"/>
            <a:ext cx="4815753" cy="56291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UY" sz="3058" b="1" dirty="0">
                <a:solidFill>
                  <a:schemeClr val="bg1"/>
                </a:solidFill>
              </a:rPr>
              <a:t>DESARROLLADOR: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A1CE5F2-A959-4DEB-98C2-D991D2EA5242}"/>
              </a:ext>
            </a:extLst>
          </p:cNvPr>
          <p:cNvSpPr txBox="1"/>
          <p:nvPr/>
        </p:nvSpPr>
        <p:spPr>
          <a:xfrm>
            <a:off x="7609853" y="1168295"/>
            <a:ext cx="5328309" cy="56291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es-UY"/>
            </a:defPPr>
            <a:lvl1pPr marL="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288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260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89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5235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1513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7831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24110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70436" algn="l" defTabSz="692603" rtl="0" eaLnBrk="1" latinLnBrk="0" hangingPunct="1">
              <a:defRPr sz="18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UY" sz="3058" b="1" dirty="0">
                <a:solidFill>
                  <a:schemeClr val="bg1"/>
                </a:solidFill>
              </a:rPr>
              <a:t>PROYECTO CONCEPTUAL: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5C2669E-1348-4CFA-BFAB-E8D8B9D82BC8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Conclusió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del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proceso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competitivo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9" name="Marcador de pie de página 1">
            <a:extLst>
              <a:ext uri="{FF2B5EF4-FFF2-40B4-BE49-F238E27FC236}">
                <a16:creationId xmlns:a16="http://schemas.microsoft.com/office/drawing/2014/main" id="{F9208953-24F4-412B-9F6F-05A0CAEAA1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1" name="Marcador de número de diapositiva 2">
            <a:extLst>
              <a:ext uri="{FF2B5EF4-FFF2-40B4-BE49-F238E27FC236}">
                <a16:creationId xmlns:a16="http://schemas.microsoft.com/office/drawing/2014/main" id="{73BC1517-1EC0-41C6-B15A-E48139C513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4</a:t>
            </a:fld>
            <a:endParaRPr lang="es-UY" dirty="0"/>
          </a:p>
        </p:txBody>
      </p:sp>
      <p:sp>
        <p:nvSpPr>
          <p:cNvPr id="13" name="Marcador de fecha 3">
            <a:extLst>
              <a:ext uri="{FF2B5EF4-FFF2-40B4-BE49-F238E27FC236}">
                <a16:creationId xmlns:a16="http://schemas.microsoft.com/office/drawing/2014/main" id="{05ACCC52-0755-4D3F-AFBC-B65491D698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1181313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725D8664-91EC-43DE-6BBA-900B8E46A648}"/>
              </a:ext>
            </a:extLst>
          </p:cNvPr>
          <p:cNvSpPr txBox="1"/>
          <p:nvPr/>
        </p:nvSpPr>
        <p:spPr>
          <a:xfrm>
            <a:off x="3696550" y="961568"/>
            <a:ext cx="833029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GW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lectricidad de fuentes renovables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 GW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lectrolisis - </a:t>
            </a:r>
            <a:r>
              <a:rPr lang="es-E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00.000 t/y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roducción de H</a:t>
            </a:r>
            <a:r>
              <a:rPr lang="es-ES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verde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10.000 t/y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O</a:t>
            </a:r>
            <a:r>
              <a:rPr lang="es-ES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apturado de destilación de etanol y quema de biomasa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E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80.000 t/y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-metanol - </a:t>
            </a:r>
            <a:r>
              <a:rPr lang="es-E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80.000 t/y</a:t>
            </a: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-gasolina</a:t>
            </a:r>
          </a:p>
        </p:txBody>
      </p:sp>
      <p:pic>
        <p:nvPicPr>
          <p:cNvPr id="2" name="Imagen 1" descr="Vista de una ciudad desde lo alto de una colina verde&#10;&#10;Descripción generada automáticamente con confianza media">
            <a:extLst>
              <a:ext uri="{FF2B5EF4-FFF2-40B4-BE49-F238E27FC236}">
                <a16:creationId xmlns:a16="http://schemas.microsoft.com/office/drawing/2014/main" id="{0661F8B6-B8DA-D0CF-BDA8-9B3ECF04808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95" y="3995381"/>
            <a:ext cx="3637666" cy="2413827"/>
          </a:xfrm>
          <a:prstGeom prst="rect">
            <a:avLst/>
          </a:prstGeom>
        </p:spPr>
      </p:pic>
      <p:pic>
        <p:nvPicPr>
          <p:cNvPr id="1028" name="Picture 4" descr="HIF SpA (HIF) - BNamericas">
            <a:extLst>
              <a:ext uri="{FF2B5EF4-FFF2-40B4-BE49-F238E27FC236}">
                <a16:creationId xmlns:a16="http://schemas.microsoft.com/office/drawing/2014/main" id="{B17FB2DA-D424-DAC4-9ABC-15D016568D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395" y="2636652"/>
            <a:ext cx="1776209" cy="892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557AD1DB-04E1-4CC5-8E87-B3FDAFC2F0D6}"/>
              </a:ext>
            </a:extLst>
          </p:cNvPr>
          <p:cNvSpPr txBox="1"/>
          <p:nvPr/>
        </p:nvSpPr>
        <p:spPr>
          <a:xfrm>
            <a:off x="177255" y="216520"/>
            <a:ext cx="10585176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Proyecto Paysandú e-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gasolina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spcAft>
                <a:spcPts val="600"/>
              </a:spcAft>
            </a:pPr>
            <a:r>
              <a:rPr lang="en-US" sz="2400" b="1" i="1" dirty="0" err="1">
                <a:solidFill>
                  <a:schemeClr val="accent5">
                    <a:lumMod val="75000"/>
                  </a:schemeClr>
                </a:solidFill>
              </a:rPr>
              <a:t>Innovador</a:t>
            </a:r>
            <a:r>
              <a:rPr lang="en-US" sz="2400" b="1" i="1" dirty="0">
                <a:solidFill>
                  <a:schemeClr val="accent5">
                    <a:lumMod val="75000"/>
                  </a:schemeClr>
                </a:solidFill>
              </a:rPr>
              <a:t> y </a:t>
            </a:r>
            <a:r>
              <a:rPr lang="en-US" sz="2400" b="1" i="1" dirty="0" err="1">
                <a:solidFill>
                  <a:schemeClr val="accent5">
                    <a:lumMod val="75000"/>
                  </a:schemeClr>
                </a:solidFill>
              </a:rPr>
              <a:t>rupturista</a:t>
            </a:r>
            <a:endParaRPr lang="es-UY" sz="24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4744850-7446-4EEF-9D81-34EF3C839CA1}"/>
              </a:ext>
            </a:extLst>
          </p:cNvPr>
          <p:cNvSpPr txBox="1"/>
          <p:nvPr/>
        </p:nvSpPr>
        <p:spPr>
          <a:xfrm>
            <a:off x="312182" y="1821699"/>
            <a:ext cx="2808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23 – 2027</a:t>
            </a:r>
          </a:p>
          <a:p>
            <a:pPr algn="ctr"/>
            <a:r>
              <a:rPr lang="es-UY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+ USD 4 billones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1D897AA7-A04E-4FF0-A80E-BF937D9976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7695" y="2706557"/>
            <a:ext cx="9073009" cy="4134699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8BDC0506-308B-44B7-A758-595221B517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10987" y="291098"/>
            <a:ext cx="1211253" cy="731433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CB252869-5D31-43D8-B93D-0379EFE97D38}"/>
              </a:ext>
            </a:extLst>
          </p:cNvPr>
          <p:cNvSpPr txBox="1"/>
          <p:nvPr/>
        </p:nvSpPr>
        <p:spPr>
          <a:xfrm>
            <a:off x="8818215" y="487537"/>
            <a:ext cx="30053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UY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ceso de selección con soporte</a:t>
            </a:r>
          </a:p>
        </p:txBody>
      </p:sp>
      <p:sp>
        <p:nvSpPr>
          <p:cNvPr id="13" name="Marcador de pie de página 1">
            <a:extLst>
              <a:ext uri="{FF2B5EF4-FFF2-40B4-BE49-F238E27FC236}">
                <a16:creationId xmlns:a16="http://schemas.microsoft.com/office/drawing/2014/main" id="{45B8DAE5-53E7-49C4-8579-3652AE5ACB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4" name="Marcador de número de diapositiva 2">
            <a:extLst>
              <a:ext uri="{FF2B5EF4-FFF2-40B4-BE49-F238E27FC236}">
                <a16:creationId xmlns:a16="http://schemas.microsoft.com/office/drawing/2014/main" id="{16A58969-30C7-433B-BC9D-7AA4FABB9D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5</a:t>
            </a:fld>
            <a:endParaRPr lang="es-UY" dirty="0"/>
          </a:p>
        </p:txBody>
      </p:sp>
      <p:sp>
        <p:nvSpPr>
          <p:cNvPr id="16" name="Marcador de fecha 3">
            <a:extLst>
              <a:ext uri="{FF2B5EF4-FFF2-40B4-BE49-F238E27FC236}">
                <a16:creationId xmlns:a16="http://schemas.microsoft.com/office/drawing/2014/main" id="{3F17925A-02ED-4EEE-AA49-BC84190608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305758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Diapositiva de think-cell" r:id="rId8" imgW="493" imgH="493" progId="TCLayout.ActiveDocument.1">
                  <p:embed/>
                </p:oleObj>
              </mc:Choice>
              <mc:Fallback>
                <p:oleObj name="Diapositiva de think-cell" r:id="rId8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Forma libre: forma 9">
            <a:extLst>
              <a:ext uri="{FF2B5EF4-FFF2-40B4-BE49-F238E27FC236}">
                <a16:creationId xmlns:a16="http://schemas.microsoft.com/office/drawing/2014/main" id="{89D07786-6DA5-42CF-840D-5FCB75D9C896}"/>
              </a:ext>
            </a:extLst>
          </p:cNvPr>
          <p:cNvSpPr/>
          <p:nvPr/>
        </p:nvSpPr>
        <p:spPr>
          <a:xfrm>
            <a:off x="2481511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8016" tIns="2031735" rIns="128016" bIns="1079877" numCol="1" spcCol="1270" anchor="ctr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ción emisiones en </a:t>
            </a:r>
            <a:r>
              <a:rPr lang="es-UY" kern="1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s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radicionales</a:t>
            </a:r>
            <a:endParaRPr lang="es-UY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kern="1200" dirty="0"/>
              <a:t>importación de petróleo y gas natural, refinación, distribución)</a:t>
            </a:r>
            <a:endParaRPr lang="es-UY" sz="1800" i="1" kern="1200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AA0B1C3-B09E-4619-9BC8-C026CACFC0F9}"/>
              </a:ext>
            </a:extLst>
          </p:cNvPr>
          <p:cNvSpPr/>
          <p:nvPr/>
        </p:nvSpPr>
        <p:spPr>
          <a:xfrm>
            <a:off x="2714179" y="1798221"/>
            <a:ext cx="1584846" cy="1584846"/>
          </a:xfrm>
          <a:prstGeom prst="ellipse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4" name="Forma libre: forma 13">
            <a:extLst>
              <a:ext uri="{FF2B5EF4-FFF2-40B4-BE49-F238E27FC236}">
                <a16:creationId xmlns:a16="http://schemas.microsoft.com/office/drawing/2014/main" id="{547C3BFD-C00A-4AB0-A102-3516BA1E5D59}"/>
              </a:ext>
            </a:extLst>
          </p:cNvPr>
          <p:cNvSpPr/>
          <p:nvPr/>
        </p:nvSpPr>
        <p:spPr>
          <a:xfrm>
            <a:off x="669817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sintétic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tura de CO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ogénico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sz="1600" i="1" dirty="0"/>
              <a:t>(</a:t>
            </a:r>
            <a:r>
              <a:rPr lang="es-UY" sz="1600" i="1" dirty="0" err="1"/>
              <a:t>PtX</a:t>
            </a:r>
            <a:r>
              <a:rPr lang="es-UY" sz="1600" i="1" dirty="0"/>
              <a:t>)</a:t>
            </a:r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C9BC300E-7BE3-44D3-8E65-24E789C559FF}"/>
              </a:ext>
            </a:extLst>
          </p:cNvPr>
          <p:cNvSpPr/>
          <p:nvPr/>
        </p:nvSpPr>
        <p:spPr>
          <a:xfrm>
            <a:off x="6951823" y="1798221"/>
            <a:ext cx="1584846" cy="1584846"/>
          </a:xfrm>
          <a:prstGeom prst="ellipse">
            <a:avLst/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6" name="Forma libre: forma 15">
            <a:extLst>
              <a:ext uri="{FF2B5EF4-FFF2-40B4-BE49-F238E27FC236}">
                <a16:creationId xmlns:a16="http://schemas.microsoft.com/office/drawing/2014/main" id="{17E762E6-8D4D-4EF2-9B0D-8BB847BD5FFB}"/>
              </a:ext>
            </a:extLst>
          </p:cNvPr>
          <p:cNvSpPr/>
          <p:nvPr/>
        </p:nvSpPr>
        <p:spPr>
          <a:xfrm>
            <a:off x="4589848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bustibles alternativos</a:t>
            </a:r>
          </a:p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ites vegetales hidrogenados </a:t>
            </a:r>
            <a:r>
              <a:rPr lang="es-UY" sz="1600" i="1" dirty="0"/>
              <a:t>(HVO)</a:t>
            </a:r>
            <a:endParaRPr lang="es-UY" sz="2200" i="1" dirty="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A38E8AAF-0A51-4FE1-BFC1-DE971E332144}"/>
              </a:ext>
            </a:extLst>
          </p:cNvPr>
          <p:cNvSpPr/>
          <p:nvPr/>
        </p:nvSpPr>
        <p:spPr>
          <a:xfrm>
            <a:off x="4821070" y="1798221"/>
            <a:ext cx="1584846" cy="1584846"/>
          </a:xfrm>
          <a:prstGeom prst="ellipse">
            <a:avLst/>
          </a:prstGeom>
          <a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1000" b="-3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18" name="Forma libre: forma 17">
            <a:extLst>
              <a:ext uri="{FF2B5EF4-FFF2-40B4-BE49-F238E27FC236}">
                <a16:creationId xmlns:a16="http://schemas.microsoft.com/office/drawing/2014/main" id="{2E5D4BE6-C3F6-44F9-851D-F833E24F0FC7}"/>
              </a:ext>
            </a:extLst>
          </p:cNvPr>
          <p:cNvSpPr/>
          <p:nvPr/>
        </p:nvSpPr>
        <p:spPr>
          <a:xfrm>
            <a:off x="8806509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ción de H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erde a escala mundial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F7F45173-4530-4369-ACF0-A64B7D6380F2}"/>
              </a:ext>
            </a:extLst>
          </p:cNvPr>
          <p:cNvSpPr/>
          <p:nvPr/>
        </p:nvSpPr>
        <p:spPr>
          <a:xfrm>
            <a:off x="9037232" y="1798221"/>
            <a:ext cx="1584846" cy="1584846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sp>
        <p:nvSpPr>
          <p:cNvPr id="24" name="Marcador de pie de página 1">
            <a:extLst>
              <a:ext uri="{FF2B5EF4-FFF2-40B4-BE49-F238E27FC236}">
                <a16:creationId xmlns:a16="http://schemas.microsoft.com/office/drawing/2014/main" id="{4CCE2CF1-1F7E-41E6-BB03-9C3BCCD4E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8" name="Marcador de número de diapositiva 2">
            <a:extLst>
              <a:ext uri="{FF2B5EF4-FFF2-40B4-BE49-F238E27FC236}">
                <a16:creationId xmlns:a16="http://schemas.microsoft.com/office/drawing/2014/main" id="{3844C7A3-2BFF-4729-882D-3D7B1BA792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6</a:t>
            </a:fld>
            <a:endParaRPr lang="es-UY" dirty="0"/>
          </a:p>
        </p:txBody>
      </p:sp>
      <p:sp>
        <p:nvSpPr>
          <p:cNvPr id="21" name="Marcador de fecha 3">
            <a:extLst>
              <a:ext uri="{FF2B5EF4-FFF2-40B4-BE49-F238E27FC236}">
                <a16:creationId xmlns:a16="http://schemas.microsoft.com/office/drawing/2014/main" id="{E13D0265-ED00-4268-9483-3315FC4BF1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3238467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405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Diapositiva de think-cell" r:id="rId6" imgW="493" imgH="493" progId="TCLayout.ActiveDocument.1">
                  <p:embed/>
                </p:oleObj>
              </mc:Choice>
              <mc:Fallback>
                <p:oleObj name="Diapositiva de think-cell" r:id="rId6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magen 17">
            <a:extLst>
              <a:ext uri="{FF2B5EF4-FFF2-40B4-BE49-F238E27FC236}">
                <a16:creationId xmlns:a16="http://schemas.microsoft.com/office/drawing/2014/main" id="{210A59E8-B7B5-4496-A433-C9E4D55FF12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alphaModFix amt="6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8" t="26131" b="4027"/>
          <a:stretch/>
        </p:blipFill>
        <p:spPr>
          <a:xfrm>
            <a:off x="2826364" y="2567780"/>
            <a:ext cx="6207507" cy="3678567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2E79C404-9AC2-439F-85BA-460B3BC91270}"/>
              </a:ext>
            </a:extLst>
          </p:cNvPr>
          <p:cNvSpPr txBox="1"/>
          <p:nvPr/>
        </p:nvSpPr>
        <p:spPr>
          <a:xfrm>
            <a:off x="2625527" y="3058219"/>
            <a:ext cx="6503603" cy="28469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1109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iseñ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ntenimient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érmino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icitació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odelo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ntrato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21109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reparació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i="1" dirty="0">
                <a:latin typeface="Calibri" panose="020F0502020204030204" pitchFamily="34" charset="0"/>
                <a:cs typeface="Calibri" panose="020F0502020204030204" pitchFamily="34" charset="0"/>
              </a:rPr>
              <a:t>data rooms</a:t>
            </a:r>
          </a:p>
          <a:p>
            <a:pPr marL="721109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mplementació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i="1" dirty="0">
                <a:latin typeface="Calibri" panose="020F0502020204030204" pitchFamily="34" charset="0"/>
                <a:cs typeface="Calibri" panose="020F0502020204030204" pitchFamily="34" charset="0"/>
              </a:rPr>
              <a:t>roadshows</a:t>
            </a:r>
          </a:p>
          <a:p>
            <a:pPr marL="721109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articipació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mité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técnico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egumiento</a:t>
            </a: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s-UY" sz="4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6E74AE1-70F9-4329-A551-070E7D59EA45}"/>
              </a:ext>
            </a:extLst>
          </p:cNvPr>
          <p:cNvSpPr txBox="1"/>
          <p:nvPr/>
        </p:nvSpPr>
        <p:spPr>
          <a:xfrm>
            <a:off x="177255" y="216520"/>
            <a:ext cx="105851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Producció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de H</a:t>
            </a:r>
            <a:r>
              <a:rPr lang="en-US" sz="3600" b="1" baseline="-25000" dirty="0">
                <a:solidFill>
                  <a:schemeClr val="accent5">
                    <a:lumMod val="75000"/>
                  </a:schemeClr>
                </a:solidFill>
              </a:rPr>
              <a:t>2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l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i="1" dirty="0">
                <a:solidFill>
                  <a:schemeClr val="accent5">
                    <a:lumMod val="75000"/>
                  </a:schemeClr>
                </a:solidFill>
              </a:rPr>
              <a:t>offshore</a:t>
            </a:r>
            <a:endParaRPr lang="es-UY" sz="36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6FDE560C-4F1D-4532-8921-6BAA62DFA90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5990" y="821036"/>
            <a:ext cx="1740987" cy="6049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DDA90CC4-92EE-4F77-892C-185396FBAA9D}"/>
              </a:ext>
            </a:extLst>
          </p:cNvPr>
          <p:cNvSpPr txBox="1"/>
          <p:nvPr/>
        </p:nvSpPr>
        <p:spPr>
          <a:xfrm>
            <a:off x="6369943" y="288528"/>
            <a:ext cx="64119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algn="r">
              <a:defRPr sz="2800" i="1">
                <a:solidFill>
                  <a:srgbClr val="002060"/>
                </a:solidFill>
              </a:defRPr>
            </a:lvl1pPr>
          </a:lstStyle>
          <a:p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oducció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H</a:t>
            </a:r>
            <a:r>
              <a:rPr lang="en-US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ara l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portació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a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artir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uente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novable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l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ar.</a:t>
            </a:r>
          </a:p>
        </p:txBody>
      </p:sp>
      <p:pic>
        <p:nvPicPr>
          <p:cNvPr id="14" name="Imagen 4">
            <a:extLst>
              <a:ext uri="{FF2B5EF4-FFF2-40B4-BE49-F238E27FC236}">
                <a16:creationId xmlns:a16="http://schemas.microsoft.com/office/drawing/2014/main" id="{34B23EC4-8037-4ADB-AA02-8C39E9F2D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6364" y="1558463"/>
            <a:ext cx="772275" cy="943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ED866A66-9770-4315-9D3B-0C05DA50EBB5}"/>
              </a:ext>
            </a:extLst>
          </p:cNvPr>
          <p:cNvSpPr/>
          <p:nvPr/>
        </p:nvSpPr>
        <p:spPr>
          <a:xfrm>
            <a:off x="219194" y="1512664"/>
            <a:ext cx="2046293" cy="4759299"/>
          </a:xfrm>
          <a:custGeom>
            <a:avLst/>
            <a:gdLst>
              <a:gd name="connsiteX0" fmla="*/ 0 w 2046293"/>
              <a:gd name="connsiteY0" fmla="*/ 204629 h 4759299"/>
              <a:gd name="connsiteX1" fmla="*/ 204629 w 2046293"/>
              <a:gd name="connsiteY1" fmla="*/ 0 h 4759299"/>
              <a:gd name="connsiteX2" fmla="*/ 1841664 w 2046293"/>
              <a:gd name="connsiteY2" fmla="*/ 0 h 4759299"/>
              <a:gd name="connsiteX3" fmla="*/ 2046293 w 2046293"/>
              <a:gd name="connsiteY3" fmla="*/ 204629 h 4759299"/>
              <a:gd name="connsiteX4" fmla="*/ 2046293 w 2046293"/>
              <a:gd name="connsiteY4" fmla="*/ 4554670 h 4759299"/>
              <a:gd name="connsiteX5" fmla="*/ 1841664 w 2046293"/>
              <a:gd name="connsiteY5" fmla="*/ 4759299 h 4759299"/>
              <a:gd name="connsiteX6" fmla="*/ 204629 w 2046293"/>
              <a:gd name="connsiteY6" fmla="*/ 4759299 h 4759299"/>
              <a:gd name="connsiteX7" fmla="*/ 0 w 2046293"/>
              <a:gd name="connsiteY7" fmla="*/ 4554670 h 4759299"/>
              <a:gd name="connsiteX8" fmla="*/ 0 w 2046293"/>
              <a:gd name="connsiteY8" fmla="*/ 204629 h 475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46293" h="4759299">
                <a:moveTo>
                  <a:pt x="0" y="204629"/>
                </a:moveTo>
                <a:cubicBezTo>
                  <a:pt x="0" y="91616"/>
                  <a:pt x="91616" y="0"/>
                  <a:pt x="204629" y="0"/>
                </a:cubicBezTo>
                <a:lnTo>
                  <a:pt x="1841664" y="0"/>
                </a:lnTo>
                <a:cubicBezTo>
                  <a:pt x="1954677" y="0"/>
                  <a:pt x="2046293" y="91616"/>
                  <a:pt x="2046293" y="204629"/>
                </a:cubicBezTo>
                <a:lnTo>
                  <a:pt x="2046293" y="4554670"/>
                </a:lnTo>
                <a:cubicBezTo>
                  <a:pt x="2046293" y="4667683"/>
                  <a:pt x="1954677" y="4759299"/>
                  <a:pt x="1841664" y="4759299"/>
                </a:cubicBezTo>
                <a:lnTo>
                  <a:pt x="204629" y="4759299"/>
                </a:lnTo>
                <a:cubicBezTo>
                  <a:pt x="91616" y="4759299"/>
                  <a:pt x="0" y="4667683"/>
                  <a:pt x="0" y="4554670"/>
                </a:cubicBezTo>
                <a:lnTo>
                  <a:pt x="0" y="20462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2024" tIns="2095743" rIns="192024" bIns="1143885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ción de H</a:t>
            </a:r>
            <a:r>
              <a:rPr lang="es-UY" kern="1200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es-UY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erde a escala mundial</a:t>
            </a: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AFD474D9-4BD2-44E3-B54C-B7909D76C63E}"/>
              </a:ext>
            </a:extLst>
          </p:cNvPr>
          <p:cNvSpPr/>
          <p:nvPr/>
        </p:nvSpPr>
        <p:spPr>
          <a:xfrm>
            <a:off x="449917" y="1798221"/>
            <a:ext cx="1584846" cy="1584846"/>
          </a:xfrm>
          <a:prstGeom prst="ellipse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UY"/>
          </a:p>
        </p:txBody>
      </p:sp>
      <p:pic>
        <p:nvPicPr>
          <p:cNvPr id="33" name="Imagen 32" descr="Texto, Sitio web&#10;&#10;Descripción generada automáticamente">
            <a:extLst>
              <a:ext uri="{FF2B5EF4-FFF2-40B4-BE49-F238E27FC236}">
                <a16:creationId xmlns:a16="http://schemas.microsoft.com/office/drawing/2014/main" id="{37EE9474-FF72-4D55-9412-F31C59BDCC9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4748" y="1512664"/>
            <a:ext cx="3349782" cy="4759299"/>
          </a:xfrm>
          <a:prstGeom prst="rect">
            <a:avLst/>
          </a:prstGeom>
        </p:spPr>
      </p:pic>
      <p:sp>
        <p:nvSpPr>
          <p:cNvPr id="34" name="CuadroTexto 33">
            <a:extLst>
              <a:ext uri="{FF2B5EF4-FFF2-40B4-BE49-F238E27FC236}">
                <a16:creationId xmlns:a16="http://schemas.microsoft.com/office/drawing/2014/main" id="{322730FF-91F9-4526-BE36-5B6CF8A71A4F}"/>
              </a:ext>
            </a:extLst>
          </p:cNvPr>
          <p:cNvSpPr txBox="1"/>
          <p:nvPr/>
        </p:nvSpPr>
        <p:spPr>
          <a:xfrm>
            <a:off x="4034014" y="1768633"/>
            <a:ext cx="44241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te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l Estado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uguayo</a:t>
            </a:r>
            <a:endParaRPr lang="es-UY" sz="2800" dirty="0"/>
          </a:p>
        </p:txBody>
      </p: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3A17DE93-B3A9-494D-9860-D51443E98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9" name="Marcador de número de diapositiva 2">
            <a:extLst>
              <a:ext uri="{FF2B5EF4-FFF2-40B4-BE49-F238E27FC236}">
                <a16:creationId xmlns:a16="http://schemas.microsoft.com/office/drawing/2014/main" id="{95B72BD5-9E8A-4BC4-8743-888B8D8F8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7</a:t>
            </a:fld>
            <a:endParaRPr lang="es-UY" dirty="0"/>
          </a:p>
        </p:txBody>
      </p:sp>
      <p:sp>
        <p:nvSpPr>
          <p:cNvPr id="21" name="Marcador de fecha 3">
            <a:extLst>
              <a:ext uri="{FF2B5EF4-FFF2-40B4-BE49-F238E27FC236}">
                <a16:creationId xmlns:a16="http://schemas.microsoft.com/office/drawing/2014/main" id="{65D2C030-B6EE-44E9-AB0D-F5A4147C72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39513068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D0853CB7-1095-4525-A6CF-1802DBAC18A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4600661"/>
              </p:ext>
            </p:extLst>
          </p:nvPr>
        </p:nvGraphicFramePr>
        <p:xfrm>
          <a:off x="2087" y="1734"/>
          <a:ext cx="1734" cy="17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D0853CB7-1095-4525-A6CF-1802DBAC1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87" y="1734"/>
                        <a:ext cx="1734" cy="17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Un barco en el mar&#10;&#10;Descripción generada automáticamente">
            <a:extLst>
              <a:ext uri="{FF2B5EF4-FFF2-40B4-BE49-F238E27FC236}">
                <a16:creationId xmlns:a16="http://schemas.microsoft.com/office/drawing/2014/main" id="{2D53F05A-1C02-4ADA-BD8F-F6CC45ADB26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54572" y="1241283"/>
            <a:ext cx="2865672" cy="2621899"/>
          </a:xfrm>
          <a:prstGeom prst="rect">
            <a:avLst/>
          </a:prstGeom>
        </p:spPr>
      </p:pic>
      <p:pic>
        <p:nvPicPr>
          <p:cNvPr id="8" name="Imagen 7">
            <a:hlinkClick r:id="rId9"/>
            <a:extLst>
              <a:ext uri="{FF2B5EF4-FFF2-40B4-BE49-F238E27FC236}">
                <a16:creationId xmlns:a16="http://schemas.microsoft.com/office/drawing/2014/main" id="{D4991616-817B-4A9F-B4D0-E7A97AB7C68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85" y="1244169"/>
            <a:ext cx="2619012" cy="2619012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504F8B37-19FC-48DB-8277-C94FB733062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64649" y="1244169"/>
            <a:ext cx="2865671" cy="2619012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BDB79E88-9932-44A3-8FDF-C85E4C617FCC}"/>
              </a:ext>
            </a:extLst>
          </p:cNvPr>
          <p:cNvSpPr txBox="1"/>
          <p:nvPr/>
        </p:nvSpPr>
        <p:spPr>
          <a:xfrm>
            <a:off x="304372" y="3528888"/>
            <a:ext cx="2836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UY" sz="1800" b="1" dirty="0">
                <a:solidFill>
                  <a:schemeClr val="bg1"/>
                </a:solidFill>
              </a:rPr>
              <a:t>Plataformas </a:t>
            </a:r>
            <a:r>
              <a:rPr lang="es-UY" sz="1800" b="1" dirty="0" err="1">
                <a:solidFill>
                  <a:schemeClr val="bg1"/>
                </a:solidFill>
              </a:rPr>
              <a:t>Oil</a:t>
            </a:r>
            <a:r>
              <a:rPr lang="es-UY" sz="1800" b="1" dirty="0">
                <a:solidFill>
                  <a:schemeClr val="bg1"/>
                </a:solidFill>
              </a:rPr>
              <a:t> &amp; Ga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009BF41-9A1C-478C-BB9E-5324DDAC325F}"/>
              </a:ext>
            </a:extLst>
          </p:cNvPr>
          <p:cNvSpPr txBox="1"/>
          <p:nvPr/>
        </p:nvSpPr>
        <p:spPr>
          <a:xfrm>
            <a:off x="5361831" y="3528888"/>
            <a:ext cx="3751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UY" sz="1800" b="1" dirty="0">
                <a:solidFill>
                  <a:schemeClr val="bg1"/>
                </a:solidFill>
              </a:rPr>
              <a:t>Sub estaciones molin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36BB608-CF2A-4B4C-965D-7D865699DC3A}"/>
              </a:ext>
            </a:extLst>
          </p:cNvPr>
          <p:cNvSpPr txBox="1"/>
          <p:nvPr/>
        </p:nvSpPr>
        <p:spPr>
          <a:xfrm>
            <a:off x="3935754" y="3528888"/>
            <a:ext cx="21754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UY" sz="1800" b="1" dirty="0">
                <a:solidFill>
                  <a:schemeClr val="bg1"/>
                </a:solidFill>
              </a:rPr>
              <a:t>Electrolizadores H</a:t>
            </a:r>
            <a:r>
              <a:rPr lang="es-UY" sz="1800" b="1" baseline="-250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1028" name="Picture 4" descr="Neptune Energy Applauds Subsidy Award For Offshore Green Hydrogen Pilot">
            <a:extLst>
              <a:ext uri="{FF2B5EF4-FFF2-40B4-BE49-F238E27FC236}">
                <a16:creationId xmlns:a16="http://schemas.microsoft.com/office/drawing/2014/main" id="{FC6D11FE-E4D0-450E-9D0F-C4F7931679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244494" y="1241283"/>
            <a:ext cx="3514440" cy="2621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4501517C-D533-499C-BE79-E8B09AC28552}"/>
              </a:ext>
            </a:extLst>
          </p:cNvPr>
          <p:cNvSpPr txBox="1"/>
          <p:nvPr/>
        </p:nvSpPr>
        <p:spPr>
          <a:xfrm>
            <a:off x="10717980" y="3528888"/>
            <a:ext cx="20303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UY" sz="1800" b="1" dirty="0">
                <a:solidFill>
                  <a:schemeClr val="bg1"/>
                </a:solidFill>
              </a:rPr>
              <a:t>H2 + Gas Natural Gas</a:t>
            </a:r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4B11F7D6-8E7D-444C-9807-852097410222}"/>
              </a:ext>
            </a:extLst>
          </p:cNvPr>
          <p:cNvSpPr/>
          <p:nvPr/>
        </p:nvSpPr>
        <p:spPr>
          <a:xfrm>
            <a:off x="2608747" y="4619510"/>
            <a:ext cx="2252793" cy="1788550"/>
          </a:xfrm>
          <a:prstGeom prst="roundRect">
            <a:avLst>
              <a:gd name="adj" fmla="val 37442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2184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NCAP habilitado para participar en el sector del H</a:t>
            </a:r>
            <a:r>
              <a:rPr lang="es-ES" sz="2184" baseline="-25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endParaRPr lang="es-UY" sz="2184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Rectángulo: esquinas redondeadas 18">
            <a:extLst>
              <a:ext uri="{FF2B5EF4-FFF2-40B4-BE49-F238E27FC236}">
                <a16:creationId xmlns:a16="http://schemas.microsoft.com/office/drawing/2014/main" id="{0DA8A2A4-658A-4990-9007-F51D8A15237A}"/>
              </a:ext>
            </a:extLst>
          </p:cNvPr>
          <p:cNvSpPr/>
          <p:nvPr/>
        </p:nvSpPr>
        <p:spPr>
          <a:xfrm>
            <a:off x="589682" y="4619510"/>
            <a:ext cx="2252793" cy="1788550"/>
          </a:xfrm>
          <a:prstGeom prst="roundRect">
            <a:avLst>
              <a:gd name="adj" fmla="val 37442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2184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peraciones complejas similares</a:t>
            </a:r>
            <a:endParaRPr lang="es-UY" sz="2184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B7956B24-8D87-4596-8315-E85642D6A495}"/>
              </a:ext>
            </a:extLst>
          </p:cNvPr>
          <p:cNvSpPr/>
          <p:nvPr/>
        </p:nvSpPr>
        <p:spPr>
          <a:xfrm>
            <a:off x="6497823" y="4605081"/>
            <a:ext cx="2252793" cy="1802870"/>
          </a:xfrm>
          <a:prstGeom prst="roundRect">
            <a:avLst>
              <a:gd name="adj" fmla="val 37442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2184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odelos de negocio similares</a:t>
            </a:r>
            <a:endParaRPr lang="es-UY" sz="2184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id="{B45126F0-C6D2-498A-84BD-62E1D57306F1}"/>
              </a:ext>
            </a:extLst>
          </p:cNvPr>
          <p:cNvSpPr/>
          <p:nvPr/>
        </p:nvSpPr>
        <p:spPr>
          <a:xfrm>
            <a:off x="4553285" y="4619510"/>
            <a:ext cx="2252793" cy="1788550"/>
          </a:xfrm>
          <a:prstGeom prst="roundRect">
            <a:avLst>
              <a:gd name="adj" fmla="val 37442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2184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ower</a:t>
            </a:r>
            <a:r>
              <a:rPr lang="es-ES" sz="2184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</a:t>
            </a:r>
            <a:r>
              <a:rPr lang="es-ES" sz="2184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</a:t>
            </a:r>
            <a:r>
              <a:rPr lang="es-ES" sz="2184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X</a:t>
            </a:r>
            <a:r>
              <a:rPr lang="es-ES" sz="2184" dirty="0">
                <a:solidFill>
                  <a:schemeClr val="tx1">
                    <a:lumMod val="50000"/>
                    <a:lumOff val="50000"/>
                  </a:schemeClr>
                </a:solidFill>
              </a:rPr>
              <a:t>: gestión de moléculas, no de electrones</a:t>
            </a:r>
            <a:endParaRPr lang="es-UY" sz="2184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78B4C2A3-47E3-4B7F-8A95-D529420B7589}"/>
              </a:ext>
            </a:extLst>
          </p:cNvPr>
          <p:cNvSpPr/>
          <p:nvPr/>
        </p:nvSpPr>
        <p:spPr>
          <a:xfrm>
            <a:off x="10491235" y="4619401"/>
            <a:ext cx="2252794" cy="1788550"/>
          </a:xfrm>
          <a:prstGeom prst="roundRect">
            <a:avLst>
              <a:gd name="adj" fmla="val 37442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2184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inergias valiosas H</a:t>
            </a:r>
            <a:r>
              <a:rPr lang="es-ES" sz="2184" baseline="-25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r>
              <a:rPr lang="es-ES" sz="2184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GN para la transición</a:t>
            </a:r>
            <a:endParaRPr lang="es-UY" sz="2184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EE74A9D7-8DC1-4AFA-9E0B-B10772FBB0FD}"/>
              </a:ext>
            </a:extLst>
          </p:cNvPr>
          <p:cNvSpPr/>
          <p:nvPr/>
        </p:nvSpPr>
        <p:spPr>
          <a:xfrm>
            <a:off x="8442361" y="4619510"/>
            <a:ext cx="2252793" cy="1788550"/>
          </a:xfrm>
          <a:prstGeom prst="roundRect">
            <a:avLst>
              <a:gd name="adj" fmla="val 37442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2184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ta </a:t>
            </a:r>
            <a:r>
              <a:rPr lang="es-ES" sz="2184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ooms</a:t>
            </a:r>
            <a:endParaRPr lang="es-ES" sz="2184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Abrir llave 16">
            <a:extLst>
              <a:ext uri="{FF2B5EF4-FFF2-40B4-BE49-F238E27FC236}">
                <a16:creationId xmlns:a16="http://schemas.microsoft.com/office/drawing/2014/main" id="{C6D45D8A-8079-4CBD-BDA3-092F178A24AA}"/>
              </a:ext>
            </a:extLst>
          </p:cNvPr>
          <p:cNvSpPr/>
          <p:nvPr/>
        </p:nvSpPr>
        <p:spPr>
          <a:xfrm rot="16200000">
            <a:off x="6379644" y="-1875618"/>
            <a:ext cx="521031" cy="12237549"/>
          </a:xfrm>
          <a:prstGeom prst="lef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UY" sz="2184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9F21C07-3726-4E41-99B1-9370078372E2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Analogí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con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operacione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xistente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l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mundo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4" name="Marcador de pie de página 1">
            <a:extLst>
              <a:ext uri="{FF2B5EF4-FFF2-40B4-BE49-F238E27FC236}">
                <a16:creationId xmlns:a16="http://schemas.microsoft.com/office/drawing/2014/main" id="{98791741-9567-4DC1-95EB-E01B9B146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5" name="Marcador de número de diapositiva 2">
            <a:extLst>
              <a:ext uri="{FF2B5EF4-FFF2-40B4-BE49-F238E27FC236}">
                <a16:creationId xmlns:a16="http://schemas.microsoft.com/office/drawing/2014/main" id="{685E3D98-D082-496A-B188-3628F6A387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28</a:t>
            </a:fld>
            <a:endParaRPr lang="es-UY" dirty="0"/>
          </a:p>
        </p:txBody>
      </p:sp>
      <p:sp>
        <p:nvSpPr>
          <p:cNvPr id="28" name="Marcador de fecha 3">
            <a:extLst>
              <a:ext uri="{FF2B5EF4-FFF2-40B4-BE49-F238E27FC236}">
                <a16:creationId xmlns:a16="http://schemas.microsoft.com/office/drawing/2014/main" id="{83A02918-F866-42CC-99EF-41418A2161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868177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681311" y="1728687"/>
            <a:ext cx="11953328" cy="3168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986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ES" sz="54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es-ES" sz="4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DB8E30B-8737-4309-8AD3-60F2E468CCAB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 err="1">
                <a:solidFill>
                  <a:schemeClr val="accent1">
                    <a:lumMod val="20000"/>
                    <a:lumOff val="80000"/>
                  </a:schemeClr>
                </a:solidFill>
              </a:rPr>
              <a:t>Reflexiones</a:t>
            </a:r>
            <a:r>
              <a:rPr lang="en-US" sz="3600" b="1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 finales</a:t>
            </a:r>
          </a:p>
        </p:txBody>
      </p:sp>
      <p:sp>
        <p:nvSpPr>
          <p:cNvPr id="9" name="Marcador de pie de página 1">
            <a:extLst>
              <a:ext uri="{FF2B5EF4-FFF2-40B4-BE49-F238E27FC236}">
                <a16:creationId xmlns:a16="http://schemas.microsoft.com/office/drawing/2014/main" id="{F563AD7C-B199-4BB9-A743-BE8158D91B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</p:spTree>
    <p:extLst>
      <p:ext uri="{BB962C8B-B14F-4D97-AF65-F5344CB8AC3E}">
        <p14:creationId xmlns:p14="http://schemas.microsoft.com/office/powerpoint/2010/main" val="4079719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5225C636-894B-420E-B9AC-BE1E39AAEFA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153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Diapositiva de think-cell" r:id="rId7" imgW="421" imgH="423" progId="TCLayout.ActiveDocument.1">
                  <p:embed/>
                </p:oleObj>
              </mc:Choice>
              <mc:Fallback>
                <p:oleObj name="Diapositiva de think-cell" r:id="rId7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5225C636-894B-420E-B9AC-BE1E39AAE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Imagen 31">
            <a:extLst>
              <a:ext uri="{FF2B5EF4-FFF2-40B4-BE49-F238E27FC236}">
                <a16:creationId xmlns:a16="http://schemas.microsoft.com/office/drawing/2014/main" id="{612CA32A-A2C6-48FE-8B5F-48DF2114150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50064" y="216520"/>
            <a:ext cx="5718538" cy="3509284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C837E27-F626-46BA-91A6-A5C169D643B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606" y="2757194"/>
            <a:ext cx="1414648" cy="308219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D2B6302C-2CEA-4CCE-B6B9-63406667CA27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La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transició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nergética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246CD4BA-7BFD-47AF-9F1F-DE2DA12F2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9" name="Marcador de número de diapositiva 2">
            <a:extLst>
              <a:ext uri="{FF2B5EF4-FFF2-40B4-BE49-F238E27FC236}">
                <a16:creationId xmlns:a16="http://schemas.microsoft.com/office/drawing/2014/main" id="{E6E646D9-2BAD-42D2-9563-2E26FE803F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3</a:t>
            </a:fld>
            <a:endParaRPr lang="es-UY" dirty="0"/>
          </a:p>
        </p:txBody>
      </p:sp>
      <p:sp>
        <p:nvSpPr>
          <p:cNvPr id="21" name="Marcador de fecha 3">
            <a:extLst>
              <a:ext uri="{FF2B5EF4-FFF2-40B4-BE49-F238E27FC236}">
                <a16:creationId xmlns:a16="http://schemas.microsoft.com/office/drawing/2014/main" id="{FFBCCB22-280C-499E-83A3-40EBE49C17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D1EA6A09-A219-45DC-864B-6F5C4C7A1DE5}"/>
              </a:ext>
            </a:extLst>
          </p:cNvPr>
          <p:cNvSpPr txBox="1"/>
          <p:nvPr/>
        </p:nvSpPr>
        <p:spPr>
          <a:xfrm>
            <a:off x="1401391" y="4248968"/>
            <a:ext cx="10584616" cy="25391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“La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aceleración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de la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transición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energética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es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esencial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para la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asegurar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la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energía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, la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estabilidad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de los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precios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y la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resiliencia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nacional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en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el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 largo </a:t>
            </a:r>
            <a:r>
              <a:rPr lang="en-US" sz="2400" i="1" dirty="0" err="1">
                <a:solidFill>
                  <a:srgbClr val="494A4D"/>
                </a:solidFill>
                <a:effectLst/>
                <a:latin typeface="Graphik"/>
              </a:rPr>
              <a:t>plazo</a:t>
            </a:r>
            <a:r>
              <a:rPr lang="en-US" sz="2400" i="1" dirty="0">
                <a:solidFill>
                  <a:srgbClr val="494A4D"/>
                </a:solidFill>
                <a:effectLst/>
                <a:latin typeface="Graphik"/>
              </a:rPr>
              <a:t>.”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600" dirty="0" err="1">
                <a:solidFill>
                  <a:srgbClr val="494A4D"/>
                </a:solidFill>
                <a:effectLst/>
                <a:latin typeface="Graphik"/>
              </a:rPr>
              <a:t>Cerca</a:t>
            </a:r>
            <a:r>
              <a:rPr lang="en-US" sz="1600" dirty="0">
                <a:solidFill>
                  <a:srgbClr val="494A4D"/>
                </a:solidFill>
                <a:effectLst/>
                <a:latin typeface="Graphik"/>
              </a:rPr>
              <a:t> de 80% de la población </a:t>
            </a:r>
            <a:r>
              <a:rPr lang="en-US" sz="1600" dirty="0" err="1">
                <a:solidFill>
                  <a:srgbClr val="494A4D"/>
                </a:solidFill>
                <a:effectLst/>
                <a:latin typeface="Graphik"/>
              </a:rPr>
              <a:t>mundial</a:t>
            </a:r>
            <a:r>
              <a:rPr lang="en-US" sz="1600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effectLst/>
                <a:latin typeface="Graphik"/>
              </a:rPr>
              <a:t>vive</a:t>
            </a:r>
            <a:r>
              <a:rPr lang="en-US" sz="1600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effectLst/>
                <a:latin typeface="Graphik"/>
              </a:rPr>
              <a:t>en</a:t>
            </a:r>
            <a:r>
              <a:rPr lang="en-US" sz="1600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effectLst/>
                <a:latin typeface="Graphik"/>
              </a:rPr>
              <a:t>países</a:t>
            </a:r>
            <a:r>
              <a:rPr lang="en-US" sz="1600" dirty="0">
                <a:solidFill>
                  <a:srgbClr val="494A4D"/>
                </a:solidFill>
                <a:effectLst/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importadores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de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energía</a:t>
            </a:r>
            <a:endParaRPr lang="en-US" sz="1600" dirty="0">
              <a:solidFill>
                <a:srgbClr val="494A4D"/>
              </a:solidFill>
              <a:latin typeface="Graphik"/>
            </a:endParaRPr>
          </a:p>
          <a:p>
            <a:pPr marL="285750" indent="-285750">
              <a:buFontTx/>
              <a:buChar char="-"/>
            </a:pPr>
            <a:r>
              <a:rPr lang="en-US" sz="1600" dirty="0" err="1">
                <a:solidFill>
                  <a:srgbClr val="494A4D"/>
                </a:solidFill>
                <a:latin typeface="Graphik"/>
              </a:rPr>
              <a:t>Aprovechar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el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potencial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de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energía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renovable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:</a:t>
            </a:r>
          </a:p>
          <a:p>
            <a:pPr marL="663959" lvl="1" indent="-285750">
              <a:buFontTx/>
              <a:buChar char="-"/>
            </a:pPr>
            <a:r>
              <a:rPr lang="en-US" sz="1600" dirty="0" err="1">
                <a:solidFill>
                  <a:srgbClr val="494A4D"/>
                </a:solidFill>
                <a:latin typeface="Graphik"/>
              </a:rPr>
              <a:t>Menor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dependencia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de la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importación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/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autonomía</a:t>
            </a:r>
            <a:endParaRPr lang="en-US" sz="1600" dirty="0">
              <a:solidFill>
                <a:srgbClr val="494A4D"/>
              </a:solidFill>
              <a:latin typeface="Graphik"/>
            </a:endParaRPr>
          </a:p>
          <a:p>
            <a:pPr marL="663959" lvl="1" indent="-285750">
              <a:buFontTx/>
              <a:buChar char="-"/>
            </a:pPr>
            <a:r>
              <a:rPr lang="en-US" sz="1600" dirty="0" err="1">
                <a:solidFill>
                  <a:srgbClr val="494A4D"/>
                </a:solidFill>
                <a:latin typeface="Graphik"/>
              </a:rPr>
              <a:t>Desacople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de la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economía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local de los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precios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de los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fósiles</a:t>
            </a:r>
            <a:endParaRPr lang="en-US" sz="1600" dirty="0">
              <a:solidFill>
                <a:srgbClr val="494A4D"/>
              </a:solidFill>
              <a:latin typeface="Graphik"/>
            </a:endParaRPr>
          </a:p>
          <a:p>
            <a:pPr marL="663959" lvl="1" indent="-285750">
              <a:buFontTx/>
              <a:buChar char="-"/>
            </a:pPr>
            <a:r>
              <a:rPr lang="en-US" sz="1600" i="0" dirty="0" err="1">
                <a:solidFill>
                  <a:srgbClr val="494A4D"/>
                </a:solidFill>
                <a:effectLst/>
                <a:latin typeface="Graphik"/>
              </a:rPr>
              <a:t>Creación</a:t>
            </a:r>
            <a:r>
              <a:rPr lang="en-US" sz="1600" i="0" dirty="0">
                <a:solidFill>
                  <a:srgbClr val="494A4D"/>
                </a:solidFill>
                <a:effectLst/>
                <a:latin typeface="Graphik"/>
              </a:rPr>
              <a:t> de </a:t>
            </a:r>
            <a:r>
              <a:rPr lang="en-US" sz="1600" i="0" dirty="0" err="1">
                <a:solidFill>
                  <a:srgbClr val="494A4D"/>
                </a:solidFill>
                <a:effectLst/>
                <a:latin typeface="Graphik"/>
              </a:rPr>
              <a:t>empleos</a:t>
            </a:r>
            <a:r>
              <a:rPr lang="en-US" sz="1600" i="0" dirty="0">
                <a:solidFill>
                  <a:srgbClr val="494A4D"/>
                </a:solidFill>
                <a:effectLst/>
                <a:latin typeface="Graphik"/>
              </a:rPr>
              <a:t>, </a:t>
            </a:r>
            <a:r>
              <a:rPr lang="en-US" sz="1600" i="0" dirty="0" err="1">
                <a:solidFill>
                  <a:srgbClr val="494A4D"/>
                </a:solidFill>
                <a:effectLst/>
                <a:latin typeface="Graphik"/>
              </a:rPr>
              <a:t>reducción</a:t>
            </a:r>
            <a:r>
              <a:rPr lang="en-US" sz="1600" i="0" dirty="0">
                <a:solidFill>
                  <a:srgbClr val="494A4D"/>
                </a:solidFill>
                <a:effectLst/>
                <a:latin typeface="Graphik"/>
              </a:rPr>
              <a:t> de la </a:t>
            </a:r>
            <a:r>
              <a:rPr lang="en-US" sz="1600" i="0" dirty="0" err="1">
                <a:solidFill>
                  <a:srgbClr val="494A4D"/>
                </a:solidFill>
                <a:effectLst/>
                <a:latin typeface="Graphik"/>
              </a:rPr>
              <a:t>pobreza</a:t>
            </a:r>
            <a:r>
              <a:rPr lang="en-US" sz="1600" i="0" dirty="0">
                <a:solidFill>
                  <a:srgbClr val="494A4D"/>
                </a:solidFill>
                <a:effectLst/>
                <a:latin typeface="Graphik"/>
              </a:rPr>
              <a:t> y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avance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significativo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en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la causa de la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inclusión</a:t>
            </a:r>
            <a:endParaRPr lang="en-US" sz="1600" dirty="0">
              <a:solidFill>
                <a:srgbClr val="494A4D"/>
              </a:solidFill>
              <a:latin typeface="Graphik"/>
            </a:endParaRPr>
          </a:p>
          <a:p>
            <a:pPr marL="663959" lvl="1" indent="-285750">
              <a:buFontTx/>
              <a:buChar char="-"/>
            </a:pPr>
            <a:r>
              <a:rPr lang="en-US" sz="1600" dirty="0" err="1">
                <a:solidFill>
                  <a:srgbClr val="494A4D"/>
                </a:solidFill>
                <a:latin typeface="Graphik"/>
              </a:rPr>
              <a:t>Economía</a:t>
            </a:r>
            <a:r>
              <a:rPr lang="en-US" sz="1600" dirty="0">
                <a:solidFill>
                  <a:srgbClr val="494A4D"/>
                </a:solidFill>
                <a:latin typeface="Graphik"/>
              </a:rPr>
              <a:t> global </a:t>
            </a:r>
            <a:r>
              <a:rPr lang="en-US" sz="1600" dirty="0" err="1">
                <a:solidFill>
                  <a:srgbClr val="494A4D"/>
                </a:solidFill>
                <a:latin typeface="Graphik"/>
              </a:rPr>
              <a:t>sustentable</a:t>
            </a:r>
            <a:endParaRPr lang="es-UY" sz="1600" dirty="0"/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FE4163FF-84E2-4D4D-A0FD-7EBA495D51F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7348" y="867314"/>
            <a:ext cx="3077444" cy="1041357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id="{75A29798-2FFA-4125-987C-14E12E8F13C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1457" y="1894017"/>
            <a:ext cx="2851837" cy="525730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E694185E-DA4A-49A3-B262-AC29C791F1B9}"/>
              </a:ext>
            </a:extLst>
          </p:cNvPr>
          <p:cNvSpPr txBox="1"/>
          <p:nvPr/>
        </p:nvSpPr>
        <p:spPr>
          <a:xfrm>
            <a:off x="7306047" y="3789355"/>
            <a:ext cx="59852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UY" sz="1400" i="1" dirty="0">
                <a:hlinkClick r:id="rId13"/>
              </a:rPr>
              <a:t>https://www.irena.org/Digital-Report/World-Energy-Transitions-Outlook-2022</a:t>
            </a:r>
            <a:r>
              <a:rPr lang="es-UY" sz="1400" i="1" dirty="0"/>
              <a:t> 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FA3425AB-2914-4D29-B663-8CE7E814CB5A}"/>
              </a:ext>
            </a:extLst>
          </p:cNvPr>
          <p:cNvSpPr txBox="1"/>
          <p:nvPr/>
        </p:nvSpPr>
        <p:spPr>
          <a:xfrm>
            <a:off x="537295" y="2664792"/>
            <a:ext cx="684076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base">
              <a:spcAft>
                <a:spcPts val="1200"/>
              </a:spcAft>
            </a:pPr>
            <a:r>
              <a:rPr lang="en-US" sz="28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Seis </a:t>
            </a:r>
            <a:r>
              <a:rPr lang="en-US" sz="2800" b="1" i="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avenidas</a:t>
            </a:r>
            <a:r>
              <a:rPr lang="en-US" sz="28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 </a:t>
            </a:r>
            <a:r>
              <a:rPr lang="en-US" sz="2800" b="1" i="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tecnológicas</a:t>
            </a:r>
            <a:r>
              <a:rPr lang="en-US" sz="28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 para la </a:t>
            </a:r>
            <a:r>
              <a:rPr lang="en-US" sz="2800" b="1" i="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reducción</a:t>
            </a:r>
            <a:r>
              <a:rPr lang="en-US" sz="28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 de </a:t>
            </a:r>
            <a:r>
              <a:rPr lang="en-US" sz="2800" b="1" i="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emisiones</a:t>
            </a:r>
            <a:r>
              <a:rPr lang="en-US" sz="28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</a:rPr>
              <a:t> al 2050…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BE531A38-C482-475C-ADD4-4B8A94293305}"/>
              </a:ext>
            </a:extLst>
          </p:cNvPr>
          <p:cNvSpPr txBox="1"/>
          <p:nvPr/>
        </p:nvSpPr>
        <p:spPr>
          <a:xfrm>
            <a:off x="721223" y="3618899"/>
            <a:ext cx="66568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…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ás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na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manda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2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esponsable</a:t>
            </a:r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!</a:t>
            </a:r>
            <a:endParaRPr lang="en-US" sz="2800" b="1" i="0" dirty="0">
              <a:solidFill>
                <a:schemeClr val="tx1">
                  <a:lumMod val="65000"/>
                  <a:lumOff val="35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814996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1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F505DF9-E668-4843-B731-BDBA6774E0C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708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Diapositiva de think-cell" r:id="rId7" imgW="421" imgH="423" progId="TCLayout.ActiveDocument.1">
                  <p:embed/>
                </p:oleObj>
              </mc:Choice>
              <mc:Fallback>
                <p:oleObj name="Diapositiva de think-cell" r:id="rId7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F505DF9-E668-4843-B731-BDBA6774E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 descr="Mapa&#10;&#10;Descripción generada automáticamente">
            <a:extLst>
              <a:ext uri="{FF2B5EF4-FFF2-40B4-BE49-F238E27FC236}">
                <a16:creationId xmlns:a16="http://schemas.microsoft.com/office/drawing/2014/main" id="{DD7ED8DE-D804-4AA8-9BEF-6F90BA3580F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862" y="1216626"/>
            <a:ext cx="7641389" cy="5408606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76B3C5B5-8E4B-4612-94A2-47DC0220DC94}"/>
              </a:ext>
            </a:extLst>
          </p:cNvPr>
          <p:cNvSpPr txBox="1"/>
          <p:nvPr/>
        </p:nvSpPr>
        <p:spPr>
          <a:xfrm>
            <a:off x="177255" y="216520"/>
            <a:ext cx="102971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Transició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/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Ambiente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/ Oil &amp; Gas / H</a:t>
            </a:r>
            <a:r>
              <a:rPr lang="en-US" sz="3600" b="1" baseline="-25000" dirty="0">
                <a:solidFill>
                  <a:schemeClr val="accent5">
                    <a:lumMod val="75000"/>
                  </a:schemeClr>
                </a:solidFill>
              </a:rPr>
              <a:t>2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A338D13-8DF8-42C1-9E7B-722B762DB4DE}"/>
              </a:ext>
            </a:extLst>
          </p:cNvPr>
          <p:cNvSpPr txBox="1"/>
          <p:nvPr/>
        </p:nvSpPr>
        <p:spPr>
          <a:xfrm>
            <a:off x="340234" y="4194000"/>
            <a:ext cx="5243168" cy="2272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UY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riterios coordinados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UY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tención a sitios ecológicamente relevantes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UY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racción con actividades humanas    </a:t>
            </a: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tránsito marítimo, pesca, cables submarinos)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UY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mportante </a:t>
            </a:r>
            <a:r>
              <a:rPr lang="es-UY" sz="160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feedback</a:t>
            </a:r>
            <a:r>
              <a:rPr lang="es-UY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 </a:t>
            </a:r>
            <a:r>
              <a:rPr lang="es-UY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put </a:t>
            </a:r>
            <a:r>
              <a:rPr lang="es-UY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la industria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UY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spectos geológicos en zonas complementarias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UY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n restricciones para la exportación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944CCF5-218C-4A00-94C8-3C8B4C07F08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877427" y="432544"/>
            <a:ext cx="1740987" cy="6049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2" name="Picture 2" descr="C:\Users\nblanquez\AppData\Local\Microsoft\Windows\Temporary Internet Files\Content.Outlook\ZLAJFLTP\transparente ingles.png">
            <a:extLst>
              <a:ext uri="{FF2B5EF4-FFF2-40B4-BE49-F238E27FC236}">
                <a16:creationId xmlns:a16="http://schemas.microsoft.com/office/drawing/2014/main" id="{59E0E59E-08E5-4FD0-9A52-4E79E06F6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2469" y="301639"/>
            <a:ext cx="1185071" cy="864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211271BC-081E-44B7-84A2-D031F2013CAF}"/>
              </a:ext>
            </a:extLst>
          </p:cNvPr>
          <p:cNvSpPr txBox="1"/>
          <p:nvPr/>
        </p:nvSpPr>
        <p:spPr>
          <a:xfrm>
            <a:off x="249264" y="1224632"/>
            <a:ext cx="5472607" cy="29084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Oferta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para una </a:t>
            </a: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transición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enregética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2800" i="1" dirty="0" err="1">
                <a:solidFill>
                  <a:schemeClr val="accent1">
                    <a:lumMod val="75000"/>
                  </a:schemeClr>
                </a:solidFill>
              </a:rPr>
              <a:t>diversificada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, </a:t>
            </a:r>
            <a:r>
              <a:rPr lang="en-US" sz="2800" i="1" dirty="0" err="1">
                <a:solidFill>
                  <a:schemeClr val="accent1">
                    <a:lumMod val="75000"/>
                  </a:schemeClr>
                </a:solidFill>
              </a:rPr>
              <a:t>complementaria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y </a:t>
            </a:r>
            <a:r>
              <a:rPr lang="en-US" sz="2800" i="1" dirty="0" err="1">
                <a:solidFill>
                  <a:schemeClr val="accent1">
                    <a:lumMod val="75000"/>
                  </a:schemeClr>
                </a:solidFill>
              </a:rPr>
              <a:t>atractiva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para </a:t>
            </a: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grandes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inversiones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privadas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.</a:t>
            </a:r>
          </a:p>
          <a:p>
            <a:pPr>
              <a:spcAft>
                <a:spcPts val="1800"/>
              </a:spcAft>
            </a:pP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Proyectos de </a:t>
            </a: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diferentes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2800" i="1" dirty="0" err="1">
                <a:solidFill>
                  <a:schemeClr val="accent1">
                    <a:lumMod val="75000"/>
                  </a:schemeClr>
                </a:solidFill>
              </a:rPr>
              <a:t>escalas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para </a:t>
            </a:r>
            <a:r>
              <a:rPr lang="en-US" sz="2800" i="1" dirty="0" err="1">
                <a:solidFill>
                  <a:schemeClr val="accent1">
                    <a:lumMod val="75000"/>
                  </a:schemeClr>
                </a:solidFill>
              </a:rPr>
              <a:t>corto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, </a:t>
            </a:r>
            <a:r>
              <a:rPr lang="en-US" sz="2800" i="1" dirty="0" err="1">
                <a:solidFill>
                  <a:schemeClr val="accent1">
                    <a:lumMod val="75000"/>
                  </a:schemeClr>
                </a:solidFill>
              </a:rPr>
              <a:t>mediano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y </a:t>
            </a:r>
            <a:r>
              <a:rPr lang="en-US" sz="2800" i="1" dirty="0">
                <a:solidFill>
                  <a:schemeClr val="accent1">
                    <a:lumMod val="75000"/>
                  </a:schemeClr>
                </a:solidFill>
              </a:rPr>
              <a:t>largo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2800" i="1" dirty="0" err="1">
                <a:solidFill>
                  <a:schemeClr val="bg2">
                    <a:lumMod val="10000"/>
                  </a:schemeClr>
                </a:solidFill>
              </a:rPr>
              <a:t>plazo</a:t>
            </a:r>
            <a:r>
              <a:rPr lang="en-US" sz="2800" i="1" dirty="0">
                <a:solidFill>
                  <a:schemeClr val="bg2">
                    <a:lumMod val="10000"/>
                  </a:schemeClr>
                </a:solidFill>
              </a:rPr>
              <a:t>.</a:t>
            </a:r>
            <a:endParaRPr lang="es-UY" sz="2800" i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Marcador de pie de página 1">
            <a:extLst>
              <a:ext uri="{FF2B5EF4-FFF2-40B4-BE49-F238E27FC236}">
                <a16:creationId xmlns:a16="http://schemas.microsoft.com/office/drawing/2014/main" id="{C0A53F63-9C55-4D06-A024-A8CCAA003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4" name="Marcador de número de diapositiva 2">
            <a:extLst>
              <a:ext uri="{FF2B5EF4-FFF2-40B4-BE49-F238E27FC236}">
                <a16:creationId xmlns:a16="http://schemas.microsoft.com/office/drawing/2014/main" id="{51051E9D-F688-4F1D-B0C4-4AE0E4CF1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30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2988244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F505DF9-E668-4843-B731-BDBA6774E0C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751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Diapositiva de think-cell" r:id="rId7" imgW="421" imgH="423" progId="TCLayout.ActiveDocument.1">
                  <p:embed/>
                </p:oleObj>
              </mc:Choice>
              <mc:Fallback>
                <p:oleObj name="Diapositiva de think-cell" r:id="rId7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F505DF9-E668-4843-B731-BDBA6774E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ángulo 26">
            <a:extLst>
              <a:ext uri="{FF2B5EF4-FFF2-40B4-BE49-F238E27FC236}">
                <a16:creationId xmlns:a16="http://schemas.microsoft.com/office/drawing/2014/main" id="{A018BD0D-153D-4086-8245-638EA318F331}"/>
              </a:ext>
            </a:extLst>
          </p:cNvPr>
          <p:cNvSpPr/>
          <p:nvPr/>
        </p:nvSpPr>
        <p:spPr>
          <a:xfrm>
            <a:off x="2625527" y="1728501"/>
            <a:ext cx="10297143" cy="503567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Y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6B3C5B5-8E4B-4612-94A2-47DC0220DC94}"/>
              </a:ext>
            </a:extLst>
          </p:cNvPr>
          <p:cNvSpPr txBox="1"/>
          <p:nvPr/>
        </p:nvSpPr>
        <p:spPr>
          <a:xfrm>
            <a:off x="177255" y="216520"/>
            <a:ext cx="102971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Los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proyecto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nergético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de ANCAP 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944CCF5-218C-4A00-94C8-3C8B4C07F08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8458" y="2180856"/>
            <a:ext cx="1834430" cy="63737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2" name="Picture 2" descr="C:\Users\nblanquez\AppData\Local\Microsoft\Windows\Temporary Internet Files\Content.Outlook\ZLAJFLTP\transparente ingles.png">
            <a:extLst>
              <a:ext uri="{FF2B5EF4-FFF2-40B4-BE49-F238E27FC236}">
                <a16:creationId xmlns:a16="http://schemas.microsoft.com/office/drawing/2014/main" id="{59E0E59E-08E5-4FD0-9A52-4E79E06F6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48" y="3207770"/>
            <a:ext cx="1413651" cy="103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Marcador de pie de página 1">
            <a:extLst>
              <a:ext uri="{FF2B5EF4-FFF2-40B4-BE49-F238E27FC236}">
                <a16:creationId xmlns:a16="http://schemas.microsoft.com/office/drawing/2014/main" id="{C0A53F63-9C55-4D06-A024-A8CCAA0034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4" name="Marcador de número de diapositiva 2">
            <a:extLst>
              <a:ext uri="{FF2B5EF4-FFF2-40B4-BE49-F238E27FC236}">
                <a16:creationId xmlns:a16="http://schemas.microsoft.com/office/drawing/2014/main" id="{51051E9D-F688-4F1D-B0C4-4AE0E4CF1D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31</a:t>
            </a:fld>
            <a:endParaRPr lang="es-UY" dirty="0"/>
          </a:p>
        </p:txBody>
      </p:sp>
      <p:sp>
        <p:nvSpPr>
          <p:cNvPr id="11" name="Marcador de fecha 3">
            <a:extLst>
              <a:ext uri="{FF2B5EF4-FFF2-40B4-BE49-F238E27FC236}">
                <a16:creationId xmlns:a16="http://schemas.microsoft.com/office/drawing/2014/main" id="{B5D3B4B9-1335-4701-B8F0-7C60B2DFFD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C18A88B5-99CE-4DCE-B8FC-2E6B3B77B20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89423" y="5305265"/>
            <a:ext cx="714597" cy="236318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0499D1BF-6F8E-4F7F-BEA9-8B7168B629A1}"/>
              </a:ext>
            </a:extLst>
          </p:cNvPr>
          <p:cNvSpPr txBox="1"/>
          <p:nvPr/>
        </p:nvSpPr>
        <p:spPr>
          <a:xfrm>
            <a:off x="2625527" y="851093"/>
            <a:ext cx="10297144" cy="83099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s-UY" sz="2400" b="1" dirty="0"/>
              <a:t>Rol:</a:t>
            </a:r>
          </a:p>
          <a:p>
            <a:r>
              <a:rPr lang="es-UY" sz="2400" i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CAP actúa como AGENTE del gobierno en la atracción de grandes inversione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00A0FD9-9ED4-4C0F-946A-00D5D0A63059}"/>
              </a:ext>
            </a:extLst>
          </p:cNvPr>
          <p:cNvSpPr txBox="1"/>
          <p:nvPr/>
        </p:nvSpPr>
        <p:spPr>
          <a:xfrm>
            <a:off x="9189944" y="1991749"/>
            <a:ext cx="3732727" cy="1200329"/>
          </a:xfrm>
          <a:prstGeom prst="rect">
            <a:avLst/>
          </a:prstGeom>
          <a:solidFill>
            <a:srgbClr val="162F6C"/>
          </a:solidFill>
        </p:spPr>
        <p:txBody>
          <a:bodyPr wrap="square" rtlCol="0">
            <a:spAutoFit/>
          </a:bodyPr>
          <a:lstStyle/>
          <a:p>
            <a:r>
              <a:rPr lang="es-UY" sz="2400" dirty="0">
                <a:solidFill>
                  <a:schemeClr val="bg1"/>
                </a:solidFill>
              </a:rPr>
              <a:t>Ingresos para el Gobierno (ganancias + impuestos aplicables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E2832BC-49C7-4D8B-87E0-8B130A4ABC13}"/>
              </a:ext>
            </a:extLst>
          </p:cNvPr>
          <p:cNvSpPr txBox="1"/>
          <p:nvPr/>
        </p:nvSpPr>
        <p:spPr>
          <a:xfrm>
            <a:off x="5438664" y="1991749"/>
            <a:ext cx="3732727" cy="1200329"/>
          </a:xfrm>
          <a:prstGeom prst="rect">
            <a:avLst/>
          </a:prstGeom>
          <a:solidFill>
            <a:srgbClr val="162F6C"/>
          </a:solidFill>
        </p:spPr>
        <p:txBody>
          <a:bodyPr wrap="square" rtlCol="0">
            <a:spAutoFit/>
          </a:bodyPr>
          <a:lstStyle/>
          <a:p>
            <a:r>
              <a:rPr lang="es-UY" sz="2400" dirty="0">
                <a:solidFill>
                  <a:schemeClr val="bg1"/>
                </a:solidFill>
              </a:rPr>
              <a:t>Venta de CO</a:t>
            </a:r>
            <a:r>
              <a:rPr lang="es-UY" sz="2400" baseline="-25000" dirty="0">
                <a:solidFill>
                  <a:schemeClr val="bg1"/>
                </a:solidFill>
              </a:rPr>
              <a:t>2 </a:t>
            </a:r>
            <a:r>
              <a:rPr lang="es-UY" sz="2400" dirty="0">
                <a:solidFill>
                  <a:schemeClr val="bg1"/>
                </a:solidFill>
              </a:rPr>
              <a:t> y servicios</a:t>
            </a:r>
          </a:p>
          <a:p>
            <a:r>
              <a:rPr lang="es-UY" sz="2400" dirty="0">
                <a:solidFill>
                  <a:schemeClr val="bg1"/>
                </a:solidFill>
              </a:rPr>
              <a:t>+ Derecho en favor de ANCAP para coparticip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6F40DCD-CC8F-422A-BD14-BBA9F9BD3317}"/>
              </a:ext>
            </a:extLst>
          </p:cNvPr>
          <p:cNvSpPr txBox="1"/>
          <p:nvPr/>
        </p:nvSpPr>
        <p:spPr>
          <a:xfrm>
            <a:off x="41537" y="4628157"/>
            <a:ext cx="244827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UY" sz="1800" b="1" dirty="0">
                <a:solidFill>
                  <a:schemeClr val="accent1">
                    <a:lumMod val="50000"/>
                  </a:schemeClr>
                </a:solidFill>
              </a:rPr>
              <a:t>PROYECTO</a:t>
            </a:r>
            <a:endParaRPr lang="es-UY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es-UY" b="1" dirty="0">
                <a:solidFill>
                  <a:schemeClr val="accent1">
                    <a:lumMod val="50000"/>
                  </a:schemeClr>
                </a:solidFill>
              </a:rPr>
              <a:t>e-</a:t>
            </a:r>
            <a:r>
              <a:rPr lang="es-UY" b="1" dirty="0" err="1">
                <a:solidFill>
                  <a:schemeClr val="accent1">
                    <a:lumMod val="50000"/>
                  </a:schemeClr>
                </a:solidFill>
              </a:rPr>
              <a:t>gasolines</a:t>
            </a:r>
            <a:r>
              <a:rPr lang="es-UY" b="1" dirty="0">
                <a:solidFill>
                  <a:schemeClr val="accent1">
                    <a:lumMod val="50000"/>
                  </a:schemeClr>
                </a:solidFill>
              </a:rPr>
              <a:t> Paysandú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2A97DD6-ED35-44B7-9D15-18B2A19A91C5}"/>
              </a:ext>
            </a:extLst>
          </p:cNvPr>
          <p:cNvSpPr txBox="1"/>
          <p:nvPr/>
        </p:nvSpPr>
        <p:spPr>
          <a:xfrm>
            <a:off x="5438664" y="4476058"/>
            <a:ext cx="7484006" cy="830997"/>
          </a:xfrm>
          <a:prstGeom prst="rect">
            <a:avLst/>
          </a:prstGeom>
          <a:solidFill>
            <a:srgbClr val="162F6C"/>
          </a:solidFill>
        </p:spPr>
        <p:txBody>
          <a:bodyPr wrap="square" rtlCol="0">
            <a:spAutoFit/>
          </a:bodyPr>
          <a:lstStyle/>
          <a:p>
            <a:r>
              <a:rPr lang="es-UY" sz="2400" dirty="0">
                <a:solidFill>
                  <a:schemeClr val="bg1"/>
                </a:solidFill>
              </a:rPr>
              <a:t>Participar con inversión por parte de ANCAP en el emprendimiento (</a:t>
            </a:r>
            <a:r>
              <a:rPr lang="es-UY" sz="2400" u="sng" dirty="0">
                <a:solidFill>
                  <a:schemeClr val="bg1"/>
                </a:solidFill>
              </a:rPr>
              <a:t>inviable con fondos propios</a:t>
            </a:r>
            <a:r>
              <a:rPr lang="es-UY" sz="24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F1192AD-F334-4A9B-87D7-C6CB20200742}"/>
              </a:ext>
            </a:extLst>
          </p:cNvPr>
          <p:cNvSpPr txBox="1"/>
          <p:nvPr/>
        </p:nvSpPr>
        <p:spPr>
          <a:xfrm>
            <a:off x="5438664" y="5394706"/>
            <a:ext cx="3744000" cy="126188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UY" sz="2800" b="1" dirty="0"/>
              <a:t>Fondo de Inversión para Proyectos Energéticos </a:t>
            </a:r>
            <a:r>
              <a:rPr lang="es-UY" b="1" i="1" dirty="0"/>
              <a:t>(</a:t>
            </a:r>
            <a:r>
              <a:rPr lang="es-UY" b="1" i="1" dirty="0" err="1"/>
              <a:t>fieicomiso</a:t>
            </a:r>
            <a:r>
              <a:rPr lang="es-UY" b="1" i="1" dirty="0"/>
              <a:t>)</a:t>
            </a:r>
            <a:endParaRPr lang="es-UY" sz="2800" b="1" i="1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1DD9C59-99F5-49F1-9195-BDF4B2EE4D3A}"/>
              </a:ext>
            </a:extLst>
          </p:cNvPr>
          <p:cNvSpPr txBox="1"/>
          <p:nvPr/>
        </p:nvSpPr>
        <p:spPr>
          <a:xfrm>
            <a:off x="9171391" y="5394706"/>
            <a:ext cx="3751280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UY" sz="2800" b="1" dirty="0"/>
              <a:t>Fondo Soberano, </a:t>
            </a:r>
            <a:r>
              <a:rPr lang="es-UY" sz="2400" b="1" dirty="0"/>
              <a:t>por</a:t>
            </a:r>
            <a:r>
              <a:rPr lang="es-UY" sz="2800" b="1" dirty="0"/>
              <a:t> </a:t>
            </a:r>
            <a:r>
              <a:rPr lang="es-UY" sz="2400" b="1" dirty="0"/>
              <a:t>ingresos extraordinarios</a:t>
            </a:r>
            <a:endParaRPr lang="es-UY" sz="2800" b="1" dirty="0"/>
          </a:p>
          <a:p>
            <a:r>
              <a:rPr lang="es-UY" sz="1800" b="1" i="1" dirty="0"/>
              <a:t>(ciencia, tecnología, educación, ambiente, defensa)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79BA1C48-4B04-4FD2-A6C9-661C5030022E}"/>
              </a:ext>
            </a:extLst>
          </p:cNvPr>
          <p:cNvSpPr txBox="1"/>
          <p:nvPr/>
        </p:nvSpPr>
        <p:spPr>
          <a:xfrm>
            <a:off x="2625527" y="2391671"/>
            <a:ext cx="2520280" cy="4001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s-UY" dirty="0"/>
              <a:t>Beneficios para el paí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6AC39707-9A50-483B-9D77-F3AFBA1B5529}"/>
              </a:ext>
            </a:extLst>
          </p:cNvPr>
          <p:cNvSpPr txBox="1"/>
          <p:nvPr/>
        </p:nvSpPr>
        <p:spPr>
          <a:xfrm>
            <a:off x="2625527" y="3642131"/>
            <a:ext cx="2520280" cy="4001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s-UY" dirty="0"/>
              <a:t>Obligaciones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6298B460-E0D4-4CFF-9D3E-9F2359E6F538}"/>
              </a:ext>
            </a:extLst>
          </p:cNvPr>
          <p:cNvSpPr txBox="1"/>
          <p:nvPr/>
        </p:nvSpPr>
        <p:spPr>
          <a:xfrm>
            <a:off x="5438664" y="3426688"/>
            <a:ext cx="7484007" cy="830997"/>
          </a:xfrm>
          <a:prstGeom prst="rect">
            <a:avLst/>
          </a:prstGeom>
          <a:solidFill>
            <a:srgbClr val="162F6C"/>
          </a:solidFill>
        </p:spPr>
        <p:txBody>
          <a:bodyPr wrap="square" rtlCol="0">
            <a:spAutoFit/>
          </a:bodyPr>
          <a:lstStyle/>
          <a:p>
            <a:r>
              <a:rPr lang="es-UY" sz="2400" dirty="0">
                <a:solidFill>
                  <a:schemeClr val="bg1"/>
                </a:solidFill>
              </a:rPr>
              <a:t>No existen compromisos especiales salvo cumplir tratados y convenciones internacionales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2B3EF0B5-19BA-4122-8E1B-AE07191312D2}"/>
              </a:ext>
            </a:extLst>
          </p:cNvPr>
          <p:cNvSpPr txBox="1"/>
          <p:nvPr/>
        </p:nvSpPr>
        <p:spPr>
          <a:xfrm>
            <a:off x="2625527" y="4691501"/>
            <a:ext cx="2520280" cy="4001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s-UY" dirty="0"/>
              <a:t>Oportunidad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83A35316-447D-4028-9E90-7E4E6B67BCBE}"/>
              </a:ext>
            </a:extLst>
          </p:cNvPr>
          <p:cNvSpPr txBox="1"/>
          <p:nvPr/>
        </p:nvSpPr>
        <p:spPr>
          <a:xfrm>
            <a:off x="2625527" y="5841661"/>
            <a:ext cx="2520280" cy="4001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s-UY" b="1" dirty="0"/>
              <a:t>Institucionalidad</a:t>
            </a:r>
          </a:p>
        </p:txBody>
      </p:sp>
    </p:spTree>
    <p:extLst>
      <p:ext uri="{BB962C8B-B14F-4D97-AF65-F5344CB8AC3E}">
        <p14:creationId xmlns:p14="http://schemas.microsoft.com/office/powerpoint/2010/main" val="3610594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5" grpId="0" animBg="1"/>
      <p:bldP spid="6" grpId="0" animBg="1"/>
      <p:bldP spid="9" grpId="0" animBg="1"/>
      <p:bldP spid="16" grpId="0"/>
      <p:bldP spid="17" grpId="0"/>
      <p:bldP spid="21" grpId="0" animBg="1"/>
      <p:bldP spid="23" grpId="0" animBg="1"/>
      <p:bldP spid="20" grpId="0" animBg="1"/>
      <p:bldP spid="25" grpId="0" animBg="1"/>
      <p:bldP spid="2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3AEEB47A-256E-4638-BA9A-5856E4EBB090}"/>
              </a:ext>
            </a:extLst>
          </p:cNvPr>
          <p:cNvSpPr txBox="1"/>
          <p:nvPr/>
        </p:nvSpPr>
        <p:spPr>
          <a:xfrm>
            <a:off x="177255" y="216520"/>
            <a:ext cx="122232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Pero al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futuro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se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lleg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desde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el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presente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…</a:t>
            </a:r>
            <a:endParaRPr lang="es-UY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ADD57B9D-E79B-446B-8D92-37423AC581D1}"/>
              </a:ext>
            </a:extLst>
          </p:cNvPr>
          <p:cNvSpPr txBox="1"/>
          <p:nvPr/>
        </p:nvSpPr>
        <p:spPr>
          <a:xfrm>
            <a:off x="131397" y="5436959"/>
            <a:ext cx="3375836" cy="1323245"/>
          </a:xfrm>
          <a:prstGeom prst="rect">
            <a:avLst/>
          </a:prstGeom>
          <a:noFill/>
        </p:spPr>
        <p:txBody>
          <a:bodyPr wrap="square" lIns="91247" tIns="45624" rIns="91247" bIns="45624" rtlCol="0">
            <a:spAutoFit/>
          </a:bodyPr>
          <a:lstStyle/>
          <a:p>
            <a:pPr marL="0" marR="0" lvl="0" indent="0" algn="l" defTabSz="756447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 (Títulos)"/>
                <a:ea typeface="+mn-ea"/>
                <a:cs typeface="+mn-cs"/>
              </a:rPr>
              <a:t>Pesos convertidos a TC de cierre </a:t>
            </a:r>
            <a:endParaRPr lang="es-ES" sz="1400" dirty="0">
              <a:solidFill>
                <a:prstClr val="black">
                  <a:lumMod val="50000"/>
                  <a:lumOff val="50000"/>
                </a:prstClr>
              </a:solidFill>
              <a:latin typeface="Calibri Light (Títulos)"/>
            </a:endParaRPr>
          </a:p>
          <a:p>
            <a:pPr marL="0" marR="0" lvl="0" indent="0" algn="l" defTabSz="756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 (Títulos)"/>
                <a:ea typeface="+mn-ea"/>
                <a:cs typeface="+mn-cs"/>
              </a:rPr>
              <a:t>2020:		42,34   $UYU /USD.</a:t>
            </a:r>
          </a:p>
          <a:p>
            <a:pPr marL="0" marR="0" lvl="0" indent="0" algn="l" defTabSz="756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 (Títulos)"/>
                <a:ea typeface="+mn-ea"/>
                <a:cs typeface="+mn-cs"/>
              </a:rPr>
              <a:t>2021:		44,695 $UYU /USD.</a:t>
            </a:r>
          </a:p>
          <a:p>
            <a:pPr marL="0" marR="0" lvl="0" indent="0" algn="l" defTabSz="756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 (Títulos)"/>
              </a:rPr>
              <a:t>2022:		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 (Títulos)"/>
                <a:ea typeface="+mn-ea"/>
                <a:cs typeface="+mn-cs"/>
              </a:rPr>
              <a:t>40,071 $UYU /USD.</a:t>
            </a:r>
          </a:p>
          <a:p>
            <a:pPr marL="0" marR="0" lvl="0" indent="0" algn="l" defTabSz="756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Calibri Light (Títulos)"/>
              </a:rPr>
              <a:t>2023 (marzo):	38,348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 (Títulos)"/>
                <a:ea typeface="+mn-ea"/>
                <a:cs typeface="+mn-cs"/>
              </a:rPr>
              <a:t>$UYU /USD.</a:t>
            </a: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id="{3B701BB0-137C-4EF2-910C-0EC16B0301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69113139"/>
              </p:ext>
            </p:extLst>
          </p:nvPr>
        </p:nvGraphicFramePr>
        <p:xfrm>
          <a:off x="177800" y="1296640"/>
          <a:ext cx="8027988" cy="396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Worksheet" r:id="rId5" imgW="5972076" imgH="2952719" progId="Excel.Sheet.12">
                  <p:embed/>
                </p:oleObj>
              </mc:Choice>
              <mc:Fallback>
                <p:oleObj name="Worksheet" r:id="rId5" imgW="5972076" imgH="2952719" progId="Excel.Sheet.12">
                  <p:embed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id="{3B701BB0-137C-4EF2-910C-0EC16B0301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7800" y="1296640"/>
                        <a:ext cx="8027988" cy="396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6F0B710E-7E4E-4E21-B541-6CAA56FDB54E}"/>
              </a:ext>
            </a:extLst>
          </p:cNvPr>
          <p:cNvSpPr txBox="1"/>
          <p:nvPr/>
        </p:nvSpPr>
        <p:spPr>
          <a:xfrm>
            <a:off x="8458175" y="1296640"/>
            <a:ext cx="4631886" cy="484748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s-UY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ultado acumulado:</a:t>
            </a:r>
          </a:p>
          <a:p>
            <a:pPr algn="r"/>
            <a:r>
              <a:rPr lang="es-UY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+USD 324 millones</a:t>
            </a:r>
          </a:p>
          <a:p>
            <a:pPr>
              <a:spcBef>
                <a:spcPts val="4200"/>
              </a:spcBef>
            </a:pPr>
            <a:r>
              <a:rPr lang="es-UY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baja respecto del mercado:</a:t>
            </a:r>
          </a:p>
          <a:p>
            <a:pPr algn="r"/>
            <a:r>
              <a:rPr lang="es-UY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SD 418 millones</a:t>
            </a:r>
          </a:p>
          <a:p>
            <a:pPr algn="r"/>
            <a:endParaRPr lang="es-UY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es-UY" sz="2800" b="1" dirty="0"/>
              <a:t>Desde 2021, ANCAP generó USD 742 millones de valor tangible para la sociedad</a:t>
            </a:r>
          </a:p>
          <a:p>
            <a:r>
              <a:rPr lang="es-UY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ultado económico + menores precios, sin recaudación de impuestos</a:t>
            </a:r>
            <a:endParaRPr lang="es-UY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1EF6C760-E4CB-43B4-B5EE-6933967F853A}"/>
              </a:ext>
            </a:extLst>
          </p:cNvPr>
          <p:cNvCxnSpPr>
            <a:cxnSpLocks/>
          </p:cNvCxnSpPr>
          <p:nvPr/>
        </p:nvCxnSpPr>
        <p:spPr>
          <a:xfrm>
            <a:off x="3417615" y="2216775"/>
            <a:ext cx="12961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672BCE4-0F6F-4AE4-8EFA-5C882BD121E5}"/>
              </a:ext>
            </a:extLst>
          </p:cNvPr>
          <p:cNvSpPr txBox="1"/>
          <p:nvPr/>
        </p:nvSpPr>
        <p:spPr>
          <a:xfrm>
            <a:off x="4785767" y="2016720"/>
            <a:ext cx="22470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dirty="0"/>
              <a:t>Metodología PPI</a:t>
            </a:r>
          </a:p>
        </p:txBody>
      </p:sp>
      <p:sp>
        <p:nvSpPr>
          <p:cNvPr id="10" name="Marcador de pie de página 1">
            <a:extLst>
              <a:ext uri="{FF2B5EF4-FFF2-40B4-BE49-F238E27FC236}">
                <a16:creationId xmlns:a16="http://schemas.microsoft.com/office/drawing/2014/main" id="{2B138F99-FEAC-4ED4-829B-C5CB98B93D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2" name="Marcador de número de diapositiva 2">
            <a:extLst>
              <a:ext uri="{FF2B5EF4-FFF2-40B4-BE49-F238E27FC236}">
                <a16:creationId xmlns:a16="http://schemas.microsoft.com/office/drawing/2014/main" id="{4F00DC1D-7264-48CC-8AAF-E680402BD5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32</a:t>
            </a:fld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1327475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681311" y="1728687"/>
            <a:ext cx="11953328" cy="3168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986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s-ES" sz="5400" dirty="0">
              <a:solidFill>
                <a:schemeClr val="bg1"/>
              </a:solidFill>
              <a:latin typeface="+mn-lt"/>
            </a:endParaRPr>
          </a:p>
          <a:p>
            <a:pPr algn="ctr"/>
            <a:endParaRPr lang="es-ES" sz="4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E8B8C3F-4335-4982-B039-C2307B0CF1AE}"/>
              </a:ext>
            </a:extLst>
          </p:cNvPr>
          <p:cNvSpPr txBox="1"/>
          <p:nvPr/>
        </p:nvSpPr>
        <p:spPr>
          <a:xfrm>
            <a:off x="3489623" y="3456880"/>
            <a:ext cx="91450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s-UY" sz="4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descuidar el porvenir</a:t>
            </a:r>
          </a:p>
          <a:p>
            <a:r>
              <a:rPr lang="es-UY" sz="32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ponsabilizarse por la transición energética del país y colocarlo en el mundo como proveedor valioso y confiable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D4150F0-30D6-41F5-A852-CEC5C32018C5}"/>
              </a:ext>
            </a:extLst>
          </p:cNvPr>
          <p:cNvSpPr txBox="1"/>
          <p:nvPr/>
        </p:nvSpPr>
        <p:spPr>
          <a:xfrm>
            <a:off x="3489623" y="216520"/>
            <a:ext cx="945527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s-UY" sz="4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mplir con la misión principal</a:t>
            </a:r>
          </a:p>
          <a:p>
            <a:r>
              <a:rPr lang="es-UY" sz="32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regar combustibles en la calidad y cantidad requerida por el mercado al menor costo posible, protegiendo el patrimonio de la sociedad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CC1E37D-F2DA-4E6A-BD69-4C750D34F2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271" y="661928"/>
            <a:ext cx="2362200" cy="193357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D20620B-B995-46CF-8AC2-28A3F6E117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271" y="3912929"/>
            <a:ext cx="2362200" cy="1933575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924664D2-5442-4A90-AE80-8A5C0B960DCC}"/>
              </a:ext>
            </a:extLst>
          </p:cNvPr>
          <p:cNvSpPr txBox="1"/>
          <p:nvPr/>
        </p:nvSpPr>
        <p:spPr>
          <a:xfrm>
            <a:off x="3489623" y="6040457"/>
            <a:ext cx="9001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3200" i="1" dirty="0">
                <a:solidFill>
                  <a:schemeClr val="accent4"/>
                </a:solidFill>
              </a:rPr>
              <a:t>De importar fósiles a exportar sol y viento uruguayos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589F3206-A479-48B1-911A-4330E1D00405}"/>
              </a:ext>
            </a:extLst>
          </p:cNvPr>
          <p:cNvCxnSpPr/>
          <p:nvPr/>
        </p:nvCxnSpPr>
        <p:spPr>
          <a:xfrm>
            <a:off x="321271" y="7129288"/>
            <a:ext cx="1072919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32061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58DE7310-0F15-4058-B6C1-E6E43D6673D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785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58DE7310-0F15-4058-B6C1-E6E43D667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n 6">
            <a:extLst>
              <a:ext uri="{FF2B5EF4-FFF2-40B4-BE49-F238E27FC236}">
                <a16:creationId xmlns:a16="http://schemas.microsoft.com/office/drawing/2014/main" id="{0D69667A-DD40-4B6F-93E5-38A90D4903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57775" y="1393047"/>
            <a:ext cx="2243691" cy="224369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18321DD-81BE-F49A-5C1E-C960DEA8C7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0560" y="1398025"/>
            <a:ext cx="4057215" cy="4732314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D8AF3C1C-E824-F675-45F4-4CBF13C92879}"/>
              </a:ext>
            </a:extLst>
          </p:cNvPr>
          <p:cNvSpPr txBox="1"/>
          <p:nvPr/>
        </p:nvSpPr>
        <p:spPr>
          <a:xfrm>
            <a:off x="800560" y="6142662"/>
            <a:ext cx="20681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i="1" dirty="0">
                <a:hlinkClick r:id="rId10"/>
              </a:rPr>
              <a:t>https://bit.ly/3pCTPYx</a:t>
            </a:r>
            <a:r>
              <a:rPr lang="en-US" sz="1600" i="1" dirty="0"/>
              <a:t> </a:t>
            </a:r>
            <a:endParaRPr lang="es-ES" sz="1600" i="1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2F04C38-696A-F1C5-7386-C0FE91BCBCF1}"/>
              </a:ext>
            </a:extLst>
          </p:cNvPr>
          <p:cNvSpPr txBox="1"/>
          <p:nvPr/>
        </p:nvSpPr>
        <p:spPr>
          <a:xfrm>
            <a:off x="7018015" y="1429213"/>
            <a:ext cx="6102212" cy="2243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3495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ntro de un panorama general positivo de fuerte aceleración de las energías limpias, hay algunos elementos de preocupación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22BAB55-2A73-46C6-9D61-6450D67F0882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¿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Cómo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venimo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10" name="Marcador de pie de página 1">
            <a:extLst>
              <a:ext uri="{FF2B5EF4-FFF2-40B4-BE49-F238E27FC236}">
                <a16:creationId xmlns:a16="http://schemas.microsoft.com/office/drawing/2014/main" id="{B3CDDC42-A151-4BA4-9A33-A8C28F52F1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1" name="Marcador de número de diapositiva 2">
            <a:extLst>
              <a:ext uri="{FF2B5EF4-FFF2-40B4-BE49-F238E27FC236}">
                <a16:creationId xmlns:a16="http://schemas.microsoft.com/office/drawing/2014/main" id="{25056823-1E4E-49A3-8F79-18CC6EB27B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4</a:t>
            </a:fld>
            <a:endParaRPr lang="es-UY" dirty="0"/>
          </a:p>
        </p:txBody>
      </p:sp>
      <p:sp>
        <p:nvSpPr>
          <p:cNvPr id="9" name="Marcador de fecha 3">
            <a:extLst>
              <a:ext uri="{FF2B5EF4-FFF2-40B4-BE49-F238E27FC236}">
                <a16:creationId xmlns:a16="http://schemas.microsoft.com/office/drawing/2014/main" id="{79CB4797-FDD8-473D-946A-2E891DEC22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B08D6EB-BF8A-40A3-B2F6-556B217539C1}"/>
              </a:ext>
            </a:extLst>
          </p:cNvPr>
          <p:cNvSpPr txBox="1"/>
          <p:nvPr/>
        </p:nvSpPr>
        <p:spPr>
          <a:xfrm>
            <a:off x="5294563" y="4104952"/>
            <a:ext cx="6980036" cy="17058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UY"/>
            </a:defPPr>
            <a:lvl1pPr algn="r">
              <a:defRPr sz="3495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algn="l"/>
            <a:r>
              <a:rPr lang="es-ES" dirty="0"/>
              <a:t>La capacidad de cumplir los objetivos climáticos y de descarbonización es cada vez más cuestionable</a:t>
            </a:r>
          </a:p>
        </p:txBody>
      </p:sp>
    </p:spTree>
    <p:extLst>
      <p:ext uri="{BB962C8B-B14F-4D97-AF65-F5344CB8AC3E}">
        <p14:creationId xmlns:p14="http://schemas.microsoft.com/office/powerpoint/2010/main" val="1220973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nterfaz de usuario gráfica, Sitio web&#10;&#10;Descripción generada automáticamente">
            <a:extLst>
              <a:ext uri="{FF2B5EF4-FFF2-40B4-BE49-F238E27FC236}">
                <a16:creationId xmlns:a16="http://schemas.microsoft.com/office/drawing/2014/main" id="{36B11DC4-0B0C-4AFF-8726-2002112AFC2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7255" y="792584"/>
            <a:ext cx="5828009" cy="4371007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C837E27-F626-46BA-91A6-A5C169D643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652" y="3233799"/>
            <a:ext cx="1414648" cy="308219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5ABF80E1-6EDA-4D92-8BF2-BAA1D3BB3795}"/>
              </a:ext>
            </a:extLst>
          </p:cNvPr>
          <p:cNvSpPr txBox="1"/>
          <p:nvPr/>
        </p:nvSpPr>
        <p:spPr>
          <a:xfrm>
            <a:off x="150115" y="5019491"/>
            <a:ext cx="585515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consensus reached at CERAWeek is that </a:t>
            </a:r>
            <a:r>
              <a:rPr lang="en-US" sz="1800" b="1" i="1" dirty="0"/>
              <a:t>energy security is vital for a successful energy transition</a:t>
            </a:r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iven the intermittent aspects of renewable energies such as wind and solar, and how deeply the use of fossil fuels in some form are ingrained in everyday lives, </a:t>
            </a:r>
            <a:r>
              <a:rPr lang="en-US" sz="1800" b="1" i="1" dirty="0"/>
              <a:t>the oil and gas sector will not disappear overnight</a:t>
            </a:r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es-UY" sz="1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8D4B5BE-5ADA-4EC3-BA5B-5FF5A73D15A8}"/>
              </a:ext>
            </a:extLst>
          </p:cNvPr>
          <p:cNvSpPr txBox="1"/>
          <p:nvPr/>
        </p:nvSpPr>
        <p:spPr>
          <a:xfrm>
            <a:off x="6524215" y="4078818"/>
            <a:ext cx="668648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recent energy shortages and price spikes highlight the importance of the </a:t>
            </a:r>
            <a:r>
              <a:rPr lang="en-US" sz="1800" b="1" i="1" dirty="0"/>
              <a:t>transition away from hydrocarbons being orderly</a:t>
            </a:r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such that the demand for hydrocarbons falls in line with available supplies. Natural declines in existing production sources mean there </a:t>
            </a:r>
            <a:r>
              <a:rPr lang="en-US" sz="1800" b="1" i="1" dirty="0"/>
              <a:t>needs to be continuing upstream investment in oil and natural gas over the next 30 years</a:t>
            </a:r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endParaRPr lang="es-UY" sz="1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D2B6302C-2CEA-4CCE-B6B9-63406667CA27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Los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llamado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de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atención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A2363A3-4194-4EDC-AEA0-83B0D600B14B}"/>
              </a:ext>
            </a:extLst>
          </p:cNvPr>
          <p:cNvSpPr/>
          <p:nvPr/>
        </p:nvSpPr>
        <p:spPr>
          <a:xfrm>
            <a:off x="1617415" y="3723347"/>
            <a:ext cx="2304256" cy="50405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Y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A847C190-0A77-4446-94FD-02E14891AC61}"/>
              </a:ext>
            </a:extLst>
          </p:cNvPr>
          <p:cNvSpPr/>
          <p:nvPr/>
        </p:nvSpPr>
        <p:spPr>
          <a:xfrm>
            <a:off x="208534" y="4587443"/>
            <a:ext cx="5796730" cy="50405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Y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7AD7A36A-CCC6-4A70-92C8-C5D952508E53}"/>
              </a:ext>
            </a:extLst>
          </p:cNvPr>
          <p:cNvSpPr/>
          <p:nvPr/>
        </p:nvSpPr>
        <p:spPr>
          <a:xfrm>
            <a:off x="7162031" y="4366850"/>
            <a:ext cx="4752528" cy="3600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Y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F77A3A98-2747-4670-AD2D-C9F0EFABD1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2376" y="216520"/>
            <a:ext cx="5210165" cy="3682819"/>
          </a:xfrm>
          <a:prstGeom prst="rect">
            <a:avLst/>
          </a:prstGeom>
        </p:spPr>
      </p:pic>
      <p:sp>
        <p:nvSpPr>
          <p:cNvPr id="22" name="Marcador de pie de página 1">
            <a:extLst>
              <a:ext uri="{FF2B5EF4-FFF2-40B4-BE49-F238E27FC236}">
                <a16:creationId xmlns:a16="http://schemas.microsoft.com/office/drawing/2014/main" id="{898FEF49-CD56-4571-A676-950A39869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23" name="Marcador de número de diapositiva 2">
            <a:extLst>
              <a:ext uri="{FF2B5EF4-FFF2-40B4-BE49-F238E27FC236}">
                <a16:creationId xmlns:a16="http://schemas.microsoft.com/office/drawing/2014/main" id="{CC684358-9973-4131-922B-75A6F2A1E6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5</a:t>
            </a:fld>
            <a:endParaRPr lang="es-UY" dirty="0"/>
          </a:p>
        </p:txBody>
      </p:sp>
      <p:sp>
        <p:nvSpPr>
          <p:cNvPr id="17" name="Marcador de fecha 3">
            <a:extLst>
              <a:ext uri="{FF2B5EF4-FFF2-40B4-BE49-F238E27FC236}">
                <a16:creationId xmlns:a16="http://schemas.microsoft.com/office/drawing/2014/main" id="{3CCD7E14-4EC2-420D-AD13-EA72E7A862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B3EBE114-D4F5-4F09-89F7-50FC15FE83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61698" y="6481216"/>
            <a:ext cx="1261602" cy="273347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0CD33DCB-B5A2-4B23-935A-9FF0BA90C728}"/>
              </a:ext>
            </a:extLst>
          </p:cNvPr>
          <p:cNvSpPr txBox="1"/>
          <p:nvPr/>
        </p:nvSpPr>
        <p:spPr>
          <a:xfrm>
            <a:off x="6009902" y="6409208"/>
            <a:ext cx="4781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1" dirty="0">
                <a:solidFill>
                  <a:srgbClr val="4A4A4A"/>
                </a:solidFill>
                <a:effectLst/>
                <a:latin typeface="Conv_Akk_Pro"/>
              </a:rPr>
              <a:t>Cambridge Energy Research Associates (CERA, founded1983)</a:t>
            </a:r>
            <a:endParaRPr lang="es-UY" sz="1400" i="1" dirty="0"/>
          </a:p>
        </p:txBody>
      </p:sp>
    </p:spTree>
    <p:extLst>
      <p:ext uri="{BB962C8B-B14F-4D97-AF65-F5344CB8AC3E}">
        <p14:creationId xmlns:p14="http://schemas.microsoft.com/office/powerpoint/2010/main" val="2517715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78E896F-A9F4-457B-89E2-109DE923106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4150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78E896F-A9F4-457B-89E2-109DE9231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Imagen 13">
            <a:extLst>
              <a:ext uri="{FF2B5EF4-FFF2-40B4-BE49-F238E27FC236}">
                <a16:creationId xmlns:a16="http://schemas.microsoft.com/office/drawing/2014/main" id="{96B5C4D2-4F0D-4C91-846F-C62BAECA82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7162" y="2723919"/>
            <a:ext cx="7084216" cy="3616418"/>
          </a:xfrm>
          <a:prstGeom prst="rect">
            <a:avLst/>
          </a:prstGeom>
          <a:ln>
            <a:solidFill>
              <a:schemeClr val="bg2">
                <a:lumMod val="25000"/>
              </a:schemeClr>
            </a:solidFill>
          </a:ln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DD548664-9AE5-4304-8D60-510E6D10D2F7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Segú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los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dato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, no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venimo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bien…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C49C407-5615-4550-AF7A-8CFCF1ECC969}"/>
              </a:ext>
            </a:extLst>
          </p:cNvPr>
          <p:cNvSpPr/>
          <p:nvPr/>
        </p:nvSpPr>
        <p:spPr>
          <a:xfrm>
            <a:off x="249263" y="3981317"/>
            <a:ext cx="2376264" cy="72008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Y" sz="180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6F95FBA-CC32-4364-A9FC-588BD67D3EB0}"/>
              </a:ext>
            </a:extLst>
          </p:cNvPr>
          <p:cNvSpPr txBox="1"/>
          <p:nvPr/>
        </p:nvSpPr>
        <p:spPr>
          <a:xfrm>
            <a:off x="120454" y="792584"/>
            <a:ext cx="1258619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UY" sz="2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…pues en el mundo, +80% de la energía primaria se basa en combustibles fósiles y hace 20 años, también!</a:t>
            </a:r>
          </a:p>
        </p:txBody>
      </p:sp>
      <p:sp>
        <p:nvSpPr>
          <p:cNvPr id="17" name="Marcador de pie de página 1">
            <a:extLst>
              <a:ext uri="{FF2B5EF4-FFF2-40B4-BE49-F238E27FC236}">
                <a16:creationId xmlns:a16="http://schemas.microsoft.com/office/drawing/2014/main" id="{FDC42D6D-6A9C-49A4-AF60-92C323247E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9" name="Marcador de número de diapositiva 2">
            <a:extLst>
              <a:ext uri="{FF2B5EF4-FFF2-40B4-BE49-F238E27FC236}">
                <a16:creationId xmlns:a16="http://schemas.microsoft.com/office/drawing/2014/main" id="{B877FDD4-5CED-47B9-9483-A7B18CA38B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6</a:t>
            </a:fld>
            <a:endParaRPr lang="es-UY" dirty="0"/>
          </a:p>
        </p:txBody>
      </p:sp>
      <p:sp>
        <p:nvSpPr>
          <p:cNvPr id="13" name="Marcador de fecha 3">
            <a:extLst>
              <a:ext uri="{FF2B5EF4-FFF2-40B4-BE49-F238E27FC236}">
                <a16:creationId xmlns:a16="http://schemas.microsoft.com/office/drawing/2014/main" id="{4536D88E-C24C-4A24-8472-FC35355B16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7E7AFB6-D716-4C1C-A94D-FE23D273418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9263" y="6424977"/>
            <a:ext cx="1050213" cy="31737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1B8E75F8-3422-4B40-93F5-3C237B066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183500" y="6209533"/>
            <a:ext cx="523147" cy="215166"/>
          </a:xfrm>
          <a:prstGeom prst="rect">
            <a:avLst/>
          </a:prstGeom>
        </p:spPr>
      </p:pic>
      <p:graphicFrame>
        <p:nvGraphicFramePr>
          <p:cNvPr id="20" name="Gráfico 19">
            <a:extLst>
              <a:ext uri="{FF2B5EF4-FFF2-40B4-BE49-F238E27FC236}">
                <a16:creationId xmlns:a16="http://schemas.microsoft.com/office/drawing/2014/main" id="{B42A804F-DBB8-494F-8AA2-F21641A041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5979881"/>
              </p:ext>
            </p:extLst>
          </p:nvPr>
        </p:nvGraphicFramePr>
        <p:xfrm>
          <a:off x="7472196" y="2685173"/>
          <a:ext cx="5437588" cy="3560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49B87B07-F6D3-462D-BA92-F3BD79C01D1A}"/>
              </a:ext>
            </a:extLst>
          </p:cNvPr>
          <p:cNvSpPr txBox="1"/>
          <p:nvPr/>
        </p:nvSpPr>
        <p:spPr>
          <a:xfrm>
            <a:off x="7472196" y="6209533"/>
            <a:ext cx="1944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UY" sz="800" i="1" dirty="0"/>
              <a:t>2023 </a:t>
            </a:r>
            <a:r>
              <a:rPr lang="es-UY" sz="800" i="1" dirty="0" err="1"/>
              <a:t>Statistical</a:t>
            </a:r>
            <a:r>
              <a:rPr lang="es-UY" sz="800" i="1" dirty="0"/>
              <a:t> </a:t>
            </a:r>
            <a:r>
              <a:rPr lang="es-UY" sz="800" i="1" dirty="0" err="1"/>
              <a:t>Review</a:t>
            </a:r>
            <a:r>
              <a:rPr lang="es-UY" sz="800" i="1" dirty="0"/>
              <a:t> </a:t>
            </a:r>
            <a:r>
              <a:rPr lang="es-UY" sz="800" i="1" dirty="0" err="1"/>
              <a:t>of</a:t>
            </a:r>
            <a:r>
              <a:rPr lang="es-UY" sz="800" i="1" dirty="0"/>
              <a:t> </a:t>
            </a:r>
            <a:r>
              <a:rPr lang="es-UY" sz="800" i="1" dirty="0" err="1"/>
              <a:t>World</a:t>
            </a:r>
            <a:r>
              <a:rPr lang="es-UY" sz="800" i="1" dirty="0"/>
              <a:t> Energy</a:t>
            </a:r>
          </a:p>
        </p:txBody>
      </p:sp>
    </p:spTree>
    <p:extLst>
      <p:ext uri="{BB962C8B-B14F-4D97-AF65-F5344CB8AC3E}">
        <p14:creationId xmlns:p14="http://schemas.microsoft.com/office/powerpoint/2010/main" val="3975812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0" grpId="0">
        <p:bldAsOne/>
      </p:bldGraphic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E7499EF8-D73F-42D5-8007-393ADA57ED6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009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E7499EF8-D73F-42D5-8007-393ADA57E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B14D8A86-A8B3-F9BD-839D-493DE4A4C76E}"/>
              </a:ext>
            </a:extLst>
          </p:cNvPr>
          <p:cNvSpPr txBox="1"/>
          <p:nvPr/>
        </p:nvSpPr>
        <p:spPr>
          <a:xfrm>
            <a:off x="61840" y="1585247"/>
            <a:ext cx="13004847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12068" indent="-31206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 inversión en carbón es superior a los niveles pre pandemia</a:t>
            </a:r>
          </a:p>
          <a:p>
            <a:pPr marL="312068" indent="-31206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s preocupante la caída de la inversión en eficiencia energética</a:t>
            </a:r>
          </a:p>
          <a:p>
            <a:pPr marL="312068" indent="-31206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 gas natural crece con inversiones récord en licuefacción y regasificación</a:t>
            </a:r>
          </a:p>
          <a:p>
            <a:pPr marL="312068" indent="-31206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 inversión en petróleo y el gas sigue aumentando y cerca de niveles pre pandemia</a:t>
            </a:r>
          </a:p>
          <a:p>
            <a:pPr marL="312068" indent="-31206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 inversión en combustibles bajos en carbono aumenta, pero aún insignificante</a:t>
            </a:r>
          </a:p>
          <a:p>
            <a:pPr marL="312068" indent="-31206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 índice de energía limpia de IEA dejó de bajar por primera vez</a:t>
            </a:r>
          </a:p>
          <a:p>
            <a:pPr marL="312068" indent="-31206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 inversión en minerales críticos está muy lejos de niveles de escenario sostenible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D8AF3C1C-E824-F675-45F4-4CBF13C92879}"/>
              </a:ext>
            </a:extLst>
          </p:cNvPr>
          <p:cNvSpPr txBox="1"/>
          <p:nvPr/>
        </p:nvSpPr>
        <p:spPr>
          <a:xfrm>
            <a:off x="8304520" y="321530"/>
            <a:ext cx="4643899" cy="586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Bef>
                <a:spcPts val="1200"/>
              </a:spcBef>
              <a:spcAft>
                <a:spcPts val="600"/>
              </a:spcAft>
            </a:pPr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essandro Blasi, Special Advisor to the IEA Executive Director</a:t>
            </a:r>
            <a:endParaRPr lang="es-UY" sz="14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it-IT" sz="1311" i="1" dirty="0">
                <a:solidFill>
                  <a:schemeClr val="accent1">
                    <a:lumMod val="7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it.ly/3XDT4uM</a:t>
            </a:r>
            <a:r>
              <a:rPr lang="es-ES" sz="1311" i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it-IT" sz="131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B2D6D47-BE3C-4DC8-A3CA-5F028DF08AE7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…los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hechos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lo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reafirman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Marcador de pie de página 1">
            <a:extLst>
              <a:ext uri="{FF2B5EF4-FFF2-40B4-BE49-F238E27FC236}">
                <a16:creationId xmlns:a16="http://schemas.microsoft.com/office/drawing/2014/main" id="{4261F435-84CA-4959-A0B8-832519070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0" name="Marcador de número de diapositiva 2">
            <a:extLst>
              <a:ext uri="{FF2B5EF4-FFF2-40B4-BE49-F238E27FC236}">
                <a16:creationId xmlns:a16="http://schemas.microsoft.com/office/drawing/2014/main" id="{B8298E2D-1043-48A2-8C19-A862D6ACB9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7</a:t>
            </a:fld>
            <a:endParaRPr lang="es-UY" dirty="0"/>
          </a:p>
        </p:txBody>
      </p:sp>
      <p:sp>
        <p:nvSpPr>
          <p:cNvPr id="12" name="Marcador de fecha 3">
            <a:extLst>
              <a:ext uri="{FF2B5EF4-FFF2-40B4-BE49-F238E27FC236}">
                <a16:creationId xmlns:a16="http://schemas.microsoft.com/office/drawing/2014/main" id="{3DF2E833-78F0-41A9-8580-D3AD6FFD0B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3112172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41465852"/>
              </p:ext>
            </p:extLst>
          </p:nvPr>
        </p:nvGraphicFramePr>
        <p:xfrm>
          <a:off x="1941" y="178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Diapositiva de think-cell" r:id="rId7" imgW="493" imgH="493" progId="TCLayout.ActiveDocument.1">
                  <p:embed/>
                </p:oleObj>
              </mc:Choice>
              <mc:Fallback>
                <p:oleObj name="Diapositiva de think-cell" r:id="rId7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41" y="178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353" y="199"/>
            <a:ext cx="158742" cy="158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7563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Y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958E60C5-81CD-4AF1-8397-CB7BA7728CF1}"/>
              </a:ext>
            </a:extLst>
          </p:cNvPr>
          <p:cNvSpPr txBox="1"/>
          <p:nvPr/>
        </p:nvSpPr>
        <p:spPr>
          <a:xfrm>
            <a:off x="6317054" y="3276711"/>
            <a:ext cx="6591004" cy="3339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ose, for a minute, that you are a finance minister in the developing world. At the end of a year in which your tax take has disappointed, you are just about out of money. You could plough what little remains into your health-care system: dollars spent by clinics help control infectious diseases, and there is not much that development experts believe to be a better use of cash.</a:t>
            </a:r>
          </a:p>
          <a:p>
            <a:pPr>
              <a:spcAft>
                <a:spcPts val="600"/>
              </a:spcAft>
            </a:pPr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t you could also spend the money constructing an electrical grid that is able to handle a switch to clean energy. In the long run this will mean less pollution, more productive farmland and fewer floods.</a:t>
            </a:r>
          </a:p>
          <a:p>
            <a:pPr>
              <a:spcAft>
                <a:spcPts val="600"/>
              </a:spcAft>
            </a:pPr>
            <a:r>
              <a:rPr lang="en-US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hich is a wiser use of the marginal dollar: alleviating acute poverty straight away or doing your country’s bit to stop baking the planet?</a:t>
            </a:r>
          </a:p>
          <a:p>
            <a:pPr algn="r">
              <a:spcBef>
                <a:spcPts val="1200"/>
              </a:spcBef>
              <a:spcAft>
                <a:spcPts val="600"/>
              </a:spcAft>
            </a:pPr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essandro Blasi, Special Advisor to the IEA Executive Director</a:t>
            </a:r>
            <a:endParaRPr lang="es-UY" sz="14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E9843FA-74FD-44E5-9929-841EAE6DE43A}"/>
              </a:ext>
            </a:extLst>
          </p:cNvPr>
          <p:cNvSpPr txBox="1"/>
          <p:nvPr/>
        </p:nvSpPr>
        <p:spPr>
          <a:xfrm>
            <a:off x="207162" y="170976"/>
            <a:ext cx="105846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Una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cuestión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ética</a:t>
            </a:r>
            <a:endParaRPr lang="en-US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E725D19-25E2-4484-908B-DAA055F032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7162" y="818434"/>
            <a:ext cx="5976664" cy="535149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F0733F8B-AB19-4B03-A669-17DD6B1184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0390" y="2891904"/>
            <a:ext cx="1654003" cy="853008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A81491D3-46DB-418B-8C54-5A918F188FC3}"/>
              </a:ext>
            </a:extLst>
          </p:cNvPr>
          <p:cNvSpPr txBox="1"/>
          <p:nvPr/>
        </p:nvSpPr>
        <p:spPr>
          <a:xfrm>
            <a:off x="290610" y="6430694"/>
            <a:ext cx="4928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hlinkClick r:id="rId11"/>
              </a:rPr>
              <a:t>https://econ.st/3pAHZy6</a:t>
            </a:r>
            <a:r>
              <a:rPr lang="en-US" sz="1600" i="1" dirty="0"/>
              <a:t> </a:t>
            </a:r>
            <a:endParaRPr lang="es-ES" sz="1600" i="1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A52FF48-83C2-4468-A45A-AE4E33D2779E}"/>
              </a:ext>
            </a:extLst>
          </p:cNvPr>
          <p:cNvSpPr txBox="1"/>
          <p:nvPr/>
        </p:nvSpPr>
        <p:spPr>
          <a:xfrm>
            <a:off x="6657975" y="144512"/>
            <a:ext cx="5976664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UY" sz="28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ergía:</a:t>
            </a:r>
          </a:p>
          <a:p>
            <a:pPr>
              <a:spcAft>
                <a:spcPts val="600"/>
              </a:spcAft>
            </a:pPr>
            <a:r>
              <a:rPr lang="es-UY" sz="2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¿Es accesible a muchos o solo a pocos?</a:t>
            </a:r>
          </a:p>
          <a:p>
            <a:pPr>
              <a:spcAft>
                <a:spcPts val="600"/>
              </a:spcAft>
            </a:pPr>
            <a:r>
              <a:rPr lang="es-UY" sz="2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¿Es ambientalmente sustentable?</a:t>
            </a:r>
          </a:p>
          <a:p>
            <a:pPr>
              <a:spcAft>
                <a:spcPts val="600"/>
              </a:spcAft>
            </a:pPr>
            <a:r>
              <a:rPr lang="es-UY" sz="2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¿Hay o no hay?</a:t>
            </a:r>
          </a:p>
        </p:txBody>
      </p:sp>
      <p:sp>
        <p:nvSpPr>
          <p:cNvPr id="16" name="Marcador de pie de página 1">
            <a:extLst>
              <a:ext uri="{FF2B5EF4-FFF2-40B4-BE49-F238E27FC236}">
                <a16:creationId xmlns:a16="http://schemas.microsoft.com/office/drawing/2014/main" id="{6E5EF361-5865-4B08-9CCC-9344E16742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17" name="Marcador de número de diapositiva 2">
            <a:extLst>
              <a:ext uri="{FF2B5EF4-FFF2-40B4-BE49-F238E27FC236}">
                <a16:creationId xmlns:a16="http://schemas.microsoft.com/office/drawing/2014/main" id="{8CA4BD45-6422-4CBD-B395-9E92DB6588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8</a:t>
            </a:fld>
            <a:endParaRPr lang="es-UY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231CD2EC-5F2A-4A51-9C0C-BABCC52CFCF4}"/>
              </a:ext>
            </a:extLst>
          </p:cNvPr>
          <p:cNvSpPr txBox="1"/>
          <p:nvPr/>
        </p:nvSpPr>
        <p:spPr>
          <a:xfrm>
            <a:off x="6657975" y="2232744"/>
            <a:ext cx="63367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es-UY" sz="2400" i="1" dirty="0">
                <a:solidFill>
                  <a:schemeClr val="accent1">
                    <a:lumMod val="75000"/>
                  </a:schemeClr>
                </a:solidFill>
              </a:rPr>
              <a:t>Cerca de  </a:t>
            </a:r>
            <a:r>
              <a:rPr lang="es-UY" sz="2400" i="1" u="sng" dirty="0">
                <a:solidFill>
                  <a:schemeClr val="accent1">
                    <a:lumMod val="75000"/>
                  </a:schemeClr>
                </a:solidFill>
              </a:rPr>
              <a:t>1.000 millones de personas</a:t>
            </a:r>
            <a:r>
              <a:rPr lang="es-UY" sz="2400" i="1" dirty="0">
                <a:solidFill>
                  <a:schemeClr val="accent1">
                    <a:lumMod val="75000"/>
                  </a:schemeClr>
                </a:solidFill>
              </a:rPr>
              <a:t> ni siquiera se pueden hacer estas preguntas…</a:t>
            </a:r>
          </a:p>
        </p:txBody>
      </p:sp>
      <p:sp>
        <p:nvSpPr>
          <p:cNvPr id="14" name="Marcador de fecha 3">
            <a:extLst>
              <a:ext uri="{FF2B5EF4-FFF2-40B4-BE49-F238E27FC236}">
                <a16:creationId xmlns:a16="http://schemas.microsoft.com/office/drawing/2014/main" id="{B32AD612-3532-4C12-81F0-9EE7701F26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</p:spTree>
    <p:extLst>
      <p:ext uri="{BB962C8B-B14F-4D97-AF65-F5344CB8AC3E}">
        <p14:creationId xmlns:p14="http://schemas.microsoft.com/office/powerpoint/2010/main" val="3172150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44942109"/>
              </p:ext>
            </p:extLst>
          </p:nvPr>
        </p:nvGraphicFramePr>
        <p:xfrm>
          <a:off x="1941" y="178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Diapositiva de think-cell" r:id="rId7" imgW="493" imgH="493" progId="TCLayout.ActiveDocument.1">
                  <p:embed/>
                </p:oleObj>
              </mc:Choice>
              <mc:Fallback>
                <p:oleObj name="Diapositiva de think-cell" r:id="rId7" imgW="493" imgH="49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41" y="178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353" y="199"/>
            <a:ext cx="158742" cy="1587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7563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Y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25CCF83-9C4D-4C9C-B36E-2DAC57E2B36D}"/>
              </a:ext>
            </a:extLst>
          </p:cNvPr>
          <p:cNvSpPr txBox="1"/>
          <p:nvPr/>
        </p:nvSpPr>
        <p:spPr>
          <a:xfrm>
            <a:off x="177255" y="216520"/>
            <a:ext cx="105851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Pero la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demand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accent5">
                    <a:lumMod val="75000"/>
                  </a:schemeClr>
                </a:solidFill>
              </a:rPr>
              <a:t>tira</a:t>
            </a:r>
            <a:r>
              <a:rPr lang="en-US" sz="3600" b="1" dirty="0">
                <a:solidFill>
                  <a:schemeClr val="accent5">
                    <a:lumMod val="75000"/>
                  </a:schemeClr>
                </a:solidFill>
              </a:rPr>
              <a:t>…</a:t>
            </a:r>
            <a:endParaRPr lang="es-UY" sz="3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4" name="Marcador de pie de página 1">
            <a:extLst>
              <a:ext uri="{FF2B5EF4-FFF2-40B4-BE49-F238E27FC236}">
                <a16:creationId xmlns:a16="http://schemas.microsoft.com/office/drawing/2014/main" id="{D9BCE30A-B719-4857-B78A-9EC4C17031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10909" y="6941959"/>
            <a:ext cx="4494133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/>
              <a:t>#TransiciónResponsable</a:t>
            </a:r>
            <a:endParaRPr lang="es-UY" sz="2000" dirty="0"/>
          </a:p>
        </p:txBody>
      </p:sp>
      <p:sp>
        <p:nvSpPr>
          <p:cNvPr id="35" name="Marcador de número de diapositiva 2">
            <a:extLst>
              <a:ext uri="{FF2B5EF4-FFF2-40B4-BE49-F238E27FC236}">
                <a16:creationId xmlns:a16="http://schemas.microsoft.com/office/drawing/2014/main" id="{C8A0E0DE-A2A2-4624-B4D5-BCC8E67C2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95162" y="52014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UY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5D57B79-4061-44BD-B534-85CA2EB6D39E}" type="slidenum">
              <a:rPr lang="es-UY" smtClean="0"/>
              <a:pPr/>
              <a:t>9</a:t>
            </a:fld>
            <a:endParaRPr lang="es-UY" dirty="0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5AFE5CA8-DEF4-475C-9C65-2F1D5D858525}"/>
              </a:ext>
            </a:extLst>
          </p:cNvPr>
          <p:cNvGrpSpPr/>
          <p:nvPr/>
        </p:nvGrpSpPr>
        <p:grpSpPr>
          <a:xfrm>
            <a:off x="9215354" y="1404327"/>
            <a:ext cx="4124371" cy="5292913"/>
            <a:chOff x="9215354" y="1404327"/>
            <a:chExt cx="4124371" cy="5292913"/>
          </a:xfrm>
        </p:grpSpPr>
        <p:pic>
          <p:nvPicPr>
            <p:cNvPr id="26" name="Imagen 25">
              <a:extLst>
                <a:ext uri="{FF2B5EF4-FFF2-40B4-BE49-F238E27FC236}">
                  <a16:creationId xmlns:a16="http://schemas.microsoft.com/office/drawing/2014/main" id="{E9341FD8-680A-4778-A8B5-DD1190427E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876" t="-5626" r="-876" b="63237"/>
            <a:stretch/>
          </p:blipFill>
          <p:spPr>
            <a:xfrm>
              <a:off x="9250263" y="1404327"/>
              <a:ext cx="4089462" cy="1243072"/>
            </a:xfrm>
            <a:prstGeom prst="rect">
              <a:avLst/>
            </a:prstGeom>
          </p:spPr>
        </p:pic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A9F042CB-0DFB-4D10-BA6F-C71D6B41A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15354" y="3289869"/>
              <a:ext cx="4067357" cy="3407371"/>
            </a:xfrm>
            <a:prstGeom prst="rect">
              <a:avLst/>
            </a:prstGeom>
          </p:spPr>
        </p:pic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8BFB6B48-7F5E-4888-B714-2E12258A00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74483"/>
            <a:stretch/>
          </p:blipFill>
          <p:spPr>
            <a:xfrm>
              <a:off x="9230190" y="2633749"/>
              <a:ext cx="4089462" cy="748275"/>
            </a:xfrm>
            <a:prstGeom prst="rect">
              <a:avLst/>
            </a:prstGeom>
          </p:spPr>
        </p:pic>
      </p:grpSp>
      <p:sp>
        <p:nvSpPr>
          <p:cNvPr id="23" name="Marcador de fecha 3">
            <a:extLst>
              <a:ext uri="{FF2B5EF4-FFF2-40B4-BE49-F238E27FC236}">
                <a16:creationId xmlns:a16="http://schemas.microsoft.com/office/drawing/2014/main" id="{1EBB8318-D572-4D28-A02F-7F9ED5F2A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1271" y="6941959"/>
            <a:ext cx="2996089" cy="3987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1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UY" sz="1400" dirty="0"/>
              <a:t>Agosto 2023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1E66FD36-2E82-4B60-BA72-39AB694DC66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07032" y="1168703"/>
            <a:ext cx="6186551" cy="5312513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530CDE1A-D408-4C83-B687-B0807E5E341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3824" y="6073699"/>
            <a:ext cx="1120656" cy="698491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3D2F0887-EB52-40DB-B01C-EAD1F0B6EDC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1271" y="3661072"/>
            <a:ext cx="2286000" cy="1524000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C3A9F5B0-C370-47D5-A020-BAC8521795C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77483" y="3511654"/>
            <a:ext cx="2488161" cy="1745426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5F7ECD3-488F-4680-8AA9-D0F5F894C7DA}"/>
              </a:ext>
            </a:extLst>
          </p:cNvPr>
          <p:cNvSpPr txBox="1"/>
          <p:nvPr/>
        </p:nvSpPr>
        <p:spPr>
          <a:xfrm>
            <a:off x="9106247" y="512054"/>
            <a:ext cx="3748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… y nuevos yacimientos de petróleo y gas (Q2 2023)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D62C5266-ED76-4A7A-B55A-3E1C3987AAF2}"/>
              </a:ext>
            </a:extLst>
          </p:cNvPr>
          <p:cNvSpPr txBox="1"/>
          <p:nvPr/>
        </p:nvSpPr>
        <p:spPr>
          <a:xfrm>
            <a:off x="4925495" y="1061351"/>
            <a:ext cx="374870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uevos proyectos de EERR</a:t>
            </a:r>
          </a:p>
          <a:p>
            <a:pPr marL="342900" indent="-342900">
              <a:buFontTx/>
              <a:buChar char="-"/>
            </a:pP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nería</a:t>
            </a:r>
          </a:p>
          <a:p>
            <a:pPr marL="342900" indent="-342900">
              <a:buFontTx/>
              <a:buChar char="-"/>
            </a:pP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terías</a:t>
            </a:r>
          </a:p>
          <a:p>
            <a:pPr marL="342900" indent="-342900">
              <a:buFontTx/>
              <a:buChar char="-"/>
            </a:pP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ción eléctrica</a:t>
            </a:r>
          </a:p>
          <a:p>
            <a:pPr marL="342900" indent="-342900">
              <a:buFontTx/>
              <a:buChar char="-"/>
            </a:pP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ectrificación de consumos</a:t>
            </a:r>
          </a:p>
          <a:p>
            <a:pPr marL="342900" indent="-342900">
              <a:buFontTx/>
              <a:buChar char="-"/>
            </a:pP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drógeno</a:t>
            </a:r>
          </a:p>
          <a:p>
            <a:pPr marL="342900" indent="-342900">
              <a:buFontTx/>
              <a:buChar char="-"/>
            </a:pP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eldas de combustibles</a:t>
            </a:r>
          </a:p>
          <a:p>
            <a:pPr marL="342900" indent="-342900">
              <a:buFontTx/>
              <a:buChar char="-"/>
            </a:pPr>
            <a:r>
              <a:rPr lang="es-UY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bustibles alternativos</a:t>
            </a:r>
          </a:p>
          <a:p>
            <a:pPr marL="342900" indent="-342900">
              <a:buFontTx/>
              <a:buChar char="-"/>
            </a:pPr>
            <a:endParaRPr lang="es-UY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2CCDA40-774E-4153-BEDC-75AD280CCF73}"/>
              </a:ext>
            </a:extLst>
          </p:cNvPr>
          <p:cNvSpPr txBox="1"/>
          <p:nvPr/>
        </p:nvSpPr>
        <p:spPr>
          <a:xfrm>
            <a:off x="753319" y="1061632"/>
            <a:ext cx="31576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UY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uncios de tratados, acuerdos, planes y nuevos financiamientos para EERR</a:t>
            </a:r>
          </a:p>
        </p:txBody>
      </p:sp>
    </p:spTree>
    <p:extLst>
      <p:ext uri="{BB962C8B-B14F-4D97-AF65-F5344CB8AC3E}">
        <p14:creationId xmlns:p14="http://schemas.microsoft.com/office/powerpoint/2010/main" val="2823271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sr_pgUviYbx1Xuulj1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GGEMcL3fPE_doVWo_W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8b5af19-790a-4a93-ab34-963a14fda8d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6FAEF504EEA094DBFF210CAEE833315" ma:contentTypeVersion="10" ma:contentTypeDescription="Crear nuevo documento." ma:contentTypeScope="" ma:versionID="083770726dfab6a3a72f15298e0e9167">
  <xsd:schema xmlns:xsd="http://www.w3.org/2001/XMLSchema" xmlns:xs="http://www.w3.org/2001/XMLSchema" xmlns:p="http://schemas.microsoft.com/office/2006/metadata/properties" xmlns:ns3="28b5af19-790a-4a93-ab34-963a14fda8d6" targetNamespace="http://schemas.microsoft.com/office/2006/metadata/properties" ma:root="true" ma:fieldsID="c8d63a3faef9aeec2c92388ee2cfe62e" ns3:_="">
    <xsd:import namespace="28b5af19-790a-4a93-ab34-963a14fda8d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b5af19-790a-4a93-ab34-963a14fda8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485C5E2-34A4-4F63-9CC6-EFA0840FC7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CB8149-9C17-47E4-87CA-8AAA0319B592}">
  <ds:schemaRefs>
    <ds:schemaRef ds:uri="http://schemas.microsoft.com/office/2006/metadata/properties"/>
    <ds:schemaRef ds:uri="http://www.w3.org/2000/xmlns/"/>
    <ds:schemaRef ds:uri="28b5af19-790a-4a93-ab34-963a14fda8d6"/>
    <ds:schemaRef ds:uri="http://www.w3.org/2001/XMLSchema-instance"/>
  </ds:schemaRefs>
</ds:datastoreItem>
</file>

<file path=customXml/itemProps3.xml><?xml version="1.0" encoding="utf-8"?>
<ds:datastoreItem xmlns:ds="http://schemas.openxmlformats.org/officeDocument/2006/customXml" ds:itemID="{26171540-B9C8-4BC6-AE81-5543CB9283C8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28b5af19-790a-4a93-ab34-963a14fda8d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820</TotalTime>
  <Words>2314</Words>
  <Application>Microsoft Office PowerPoint</Application>
  <PresentationFormat>Personalizado</PresentationFormat>
  <Paragraphs>412</Paragraphs>
  <Slides>33</Slides>
  <Notes>14</Notes>
  <HiddenSlides>1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33</vt:i4>
      </vt:variant>
    </vt:vector>
  </HeadingPairs>
  <TitlesOfParts>
    <vt:vector size="34" baseType="lpstr">
      <vt:lpstr>7_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sares Tania</dc:creator>
  <cp:lastModifiedBy>Natalia Arralde</cp:lastModifiedBy>
  <cp:revision>1837</cp:revision>
  <cp:lastPrinted>2020-07-10T14:24:54Z</cp:lastPrinted>
  <dcterms:created xsi:type="dcterms:W3CDTF">2015-04-21T15:22:24Z</dcterms:created>
  <dcterms:modified xsi:type="dcterms:W3CDTF">2023-08-23T12:1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FAEF504EEA094DBFF210CAEE833315</vt:lpwstr>
  </property>
</Properties>
</file>